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5" Type="http://schemas.openxmlformats.org/officeDocument/2006/relationships/custom-properties" Target="docProps/custom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63" r:id="rId5"/>
  </p:sldMasterIdLst>
  <p:notesMasterIdLst>
    <p:notesMasterId r:id="rId16"/>
  </p:notesMasterIdLst>
  <p:sldIdLst>
    <p:sldId id="6055" r:id="rId6"/>
    <p:sldId id="6308" r:id="rId7"/>
    <p:sldId id="6051" r:id="rId8"/>
    <p:sldId id="6148" r:id="rId9"/>
    <p:sldId id="6304" r:id="rId10"/>
    <p:sldId id="6305" r:id="rId11"/>
    <p:sldId id="6160" r:id="rId12"/>
    <p:sldId id="6311" r:id="rId13"/>
    <p:sldId id="6310" r:id="rId14"/>
    <p:sldId id="6004" r:id="rId15"/>
  </p:sldIdLst>
  <p:sldSz cx="12192000" cy="6858000"/>
  <p:notesSz cx="6797675" cy="99266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6A70D47-1B1E-E6D1-C0B1-98222516FF03}" name="Taís Mendes" initials="TM" userId="S::tais@abbi.org.br::a54f0339-74f5-4768-963b-b13cb24c2cf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ago Falda" initials="TF" lastIdx="4" clrIdx="0">
    <p:extLst>
      <p:ext uri="{19B8F6BF-5375-455C-9EA6-DF929625EA0E}">
        <p15:presenceInfo xmlns:p15="http://schemas.microsoft.com/office/powerpoint/2012/main" userId="S::thiago@abbi.org.br::75b6e1b8-8314-4b1c-8410-ea7da2375275" providerId="AD"/>
      </p:ext>
    </p:extLst>
  </p:cmAuthor>
  <p:cmAuthor id="2" name="Izabella Batista Soares Cavalieri De Souza" initials="IBSCDS" lastIdx="3" clrIdx="1">
    <p:extLst>
      <p:ext uri="{19B8F6BF-5375-455C-9EA6-DF929625EA0E}">
        <p15:presenceInfo xmlns:p15="http://schemas.microsoft.com/office/powerpoint/2012/main" userId="S::izabella@abbi.org.br::c3d81645-b7ea-4d52-935c-882a3e78e5f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FF0000"/>
    <a:srgbClr val="002060"/>
    <a:srgbClr val="339933"/>
    <a:srgbClr val="47A347"/>
    <a:srgbClr val="162549"/>
    <a:srgbClr val="003300"/>
    <a:srgbClr val="FBAF3F"/>
    <a:srgbClr val="0000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94660"/>
  </p:normalViewPr>
  <p:slideViewPr>
    <p:cSldViewPr snapToGrid="0">
      <p:cViewPr varScale="1">
        <p:scale>
          <a:sx n="64" d="100"/>
          <a:sy n="64" d="100"/>
        </p:scale>
        <p:origin x="98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 /><Relationship Id="rId13" Type="http://schemas.openxmlformats.org/officeDocument/2006/relationships/slide" Target="slides/slide8.xml" /><Relationship Id="rId18" Type="http://schemas.openxmlformats.org/officeDocument/2006/relationships/presProps" Target="presProps.xml" /><Relationship Id="rId3" Type="http://schemas.openxmlformats.org/officeDocument/2006/relationships/customXml" Target="../customXml/item3.xml" /><Relationship Id="rId21" Type="http://schemas.openxmlformats.org/officeDocument/2006/relationships/tableStyles" Target="tableStyles.xml" /><Relationship Id="rId7" Type="http://schemas.openxmlformats.org/officeDocument/2006/relationships/slide" Target="slides/slide2.xml" /><Relationship Id="rId12" Type="http://schemas.openxmlformats.org/officeDocument/2006/relationships/slide" Target="slides/slide7.xml" /><Relationship Id="rId17" Type="http://schemas.openxmlformats.org/officeDocument/2006/relationships/commentAuthors" Target="commentAuthors.xml" /><Relationship Id="rId2" Type="http://schemas.openxmlformats.org/officeDocument/2006/relationships/customXml" Target="../customXml/item2.xml" /><Relationship Id="rId16" Type="http://schemas.openxmlformats.org/officeDocument/2006/relationships/notesMaster" Target="notesMasters/notesMaster1.xml" /><Relationship Id="rId20" Type="http://schemas.openxmlformats.org/officeDocument/2006/relationships/theme" Target="theme/theme1.xml" /><Relationship Id="rId1" Type="http://schemas.openxmlformats.org/officeDocument/2006/relationships/customXml" Target="../customXml/item1.xml" /><Relationship Id="rId6" Type="http://schemas.openxmlformats.org/officeDocument/2006/relationships/slide" Target="slides/slide1.xml" /><Relationship Id="rId11" Type="http://schemas.openxmlformats.org/officeDocument/2006/relationships/slide" Target="slides/slide6.xml" /><Relationship Id="rId5" Type="http://schemas.openxmlformats.org/officeDocument/2006/relationships/slideMaster" Target="slideMasters/slideMaster2.xml" /><Relationship Id="rId15" Type="http://schemas.openxmlformats.org/officeDocument/2006/relationships/slide" Target="slides/slide10.xml" /><Relationship Id="rId10" Type="http://schemas.openxmlformats.org/officeDocument/2006/relationships/slide" Target="slides/slide5.xml" /><Relationship Id="rId19" Type="http://schemas.openxmlformats.org/officeDocument/2006/relationships/viewProps" Target="viewProps.xml" /><Relationship Id="rId4" Type="http://schemas.openxmlformats.org/officeDocument/2006/relationships/slideMaster" Target="slideMasters/slideMaster1.xml" /><Relationship Id="rId9" Type="http://schemas.openxmlformats.org/officeDocument/2006/relationships/slide" Target="slides/slide4.xml" /><Relationship Id="rId14" Type="http://schemas.openxmlformats.org/officeDocument/2006/relationships/slide" Target="slides/slide9.xml" /><Relationship Id="rId22" Type="http://schemas.microsoft.com/office/2018/10/relationships/authors" Target="authors.xml" 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9CA7C1A-3513-4FDC-997D-73A414A84DE4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4DBE8540-F5FE-4CEF-8106-519445D8AE3D}">
      <dgm:prSet phldrT="[Texto]"/>
      <dgm:spPr/>
      <dgm:t>
        <a:bodyPr/>
        <a:lstStyle/>
        <a:p>
          <a:r>
            <a:rPr lang="pt-BR" dirty="0"/>
            <a:t>Créditos Escriturais</a:t>
          </a:r>
        </a:p>
      </dgm:t>
    </dgm:pt>
    <dgm:pt modelId="{E8B02850-D088-4E6D-8D55-D119F1622C0D}" type="parTrans" cxnId="{9B391820-016A-4C26-85D4-D90CFB7B6CAA}">
      <dgm:prSet/>
      <dgm:spPr/>
      <dgm:t>
        <a:bodyPr/>
        <a:lstStyle/>
        <a:p>
          <a:endParaRPr lang="pt-BR"/>
        </a:p>
      </dgm:t>
    </dgm:pt>
    <dgm:pt modelId="{0DC85C5B-69DA-4042-8F50-AA3C42C22A60}" type="sibTrans" cxnId="{9B391820-016A-4C26-85D4-D90CFB7B6CAA}">
      <dgm:prSet/>
      <dgm:spPr/>
      <dgm:t>
        <a:bodyPr/>
        <a:lstStyle/>
        <a:p>
          <a:endParaRPr lang="pt-BR"/>
        </a:p>
      </dgm:t>
    </dgm:pt>
    <dgm:pt modelId="{5EFF4A55-979C-404F-9651-0B15BA66A531}">
      <dgm:prSet phldrT="[Texto]"/>
      <dgm:spPr/>
      <dgm:t>
        <a:bodyPr/>
        <a:lstStyle/>
        <a:p>
          <a:r>
            <a:rPr lang="pt-BR" dirty="0"/>
            <a:t>Créditos Homologados</a:t>
          </a:r>
        </a:p>
      </dgm:t>
    </dgm:pt>
    <dgm:pt modelId="{68FF0FEC-5483-4085-B802-C8AFF0B18C70}" type="parTrans" cxnId="{93E1BBFB-CF1C-4916-B0F0-2DBBC7594737}">
      <dgm:prSet/>
      <dgm:spPr/>
      <dgm:t>
        <a:bodyPr/>
        <a:lstStyle/>
        <a:p>
          <a:endParaRPr lang="pt-BR"/>
        </a:p>
      </dgm:t>
    </dgm:pt>
    <dgm:pt modelId="{CF264323-D5AB-4B93-95D0-9758C2ECB15F}" type="sibTrans" cxnId="{93E1BBFB-CF1C-4916-B0F0-2DBBC7594737}">
      <dgm:prSet/>
      <dgm:spPr/>
      <dgm:t>
        <a:bodyPr/>
        <a:lstStyle/>
        <a:p>
          <a:endParaRPr lang="pt-BR"/>
        </a:p>
      </dgm:t>
    </dgm:pt>
    <dgm:pt modelId="{0905CE24-B7B2-4031-B4D0-E40F6F2BD4B1}">
      <dgm:prSet phldrT="[Texto]"/>
      <dgm:spPr/>
      <dgm:t>
        <a:bodyPr/>
        <a:lstStyle/>
        <a:p>
          <a:r>
            <a:rPr lang="pt-BR" dirty="0"/>
            <a:t>Precatórios</a:t>
          </a:r>
        </a:p>
      </dgm:t>
    </dgm:pt>
    <dgm:pt modelId="{3A56AFFE-F34D-4CA7-B3AD-6929330DF2A4}" type="parTrans" cxnId="{195F24B0-BF7E-4D29-93EA-EBA0047558D3}">
      <dgm:prSet/>
      <dgm:spPr/>
      <dgm:t>
        <a:bodyPr/>
        <a:lstStyle/>
        <a:p>
          <a:endParaRPr lang="pt-BR"/>
        </a:p>
      </dgm:t>
    </dgm:pt>
    <dgm:pt modelId="{99D45C97-1319-4D9E-87B3-D5266B06B09E}" type="sibTrans" cxnId="{195F24B0-BF7E-4D29-93EA-EBA0047558D3}">
      <dgm:prSet/>
      <dgm:spPr/>
      <dgm:t>
        <a:bodyPr/>
        <a:lstStyle/>
        <a:p>
          <a:endParaRPr lang="pt-BR"/>
        </a:p>
      </dgm:t>
    </dgm:pt>
    <dgm:pt modelId="{D73046D5-A0D3-4AEC-B28B-648E17098907}">
      <dgm:prSet phldrT="[Texto]"/>
      <dgm:spPr/>
      <dgm:t>
        <a:bodyPr/>
        <a:lstStyle/>
        <a:p>
          <a:r>
            <a:rPr lang="pt-BR" dirty="0"/>
            <a:t>Empresa</a:t>
          </a:r>
        </a:p>
      </dgm:t>
    </dgm:pt>
    <dgm:pt modelId="{1205C7E5-2AFA-4E7C-8C9E-37C3AB725D97}" type="parTrans" cxnId="{DC34DE5F-A97C-4707-9A2F-F670E53C80C0}">
      <dgm:prSet/>
      <dgm:spPr/>
      <dgm:t>
        <a:bodyPr/>
        <a:lstStyle/>
        <a:p>
          <a:endParaRPr lang="pt-BR"/>
        </a:p>
      </dgm:t>
    </dgm:pt>
    <dgm:pt modelId="{A7EADC00-8F9B-4685-86A4-A16F256B297C}" type="sibTrans" cxnId="{DC34DE5F-A97C-4707-9A2F-F670E53C80C0}">
      <dgm:prSet/>
      <dgm:spPr/>
      <dgm:t>
        <a:bodyPr/>
        <a:lstStyle/>
        <a:p>
          <a:endParaRPr lang="pt-BR"/>
        </a:p>
      </dgm:t>
    </dgm:pt>
    <dgm:pt modelId="{F6AA178C-14E0-4CAF-AAC0-EEB6227104A9}">
      <dgm:prSet phldrT="[Texto]"/>
      <dgm:spPr/>
      <dgm:t>
        <a:bodyPr/>
        <a:lstStyle/>
        <a:p>
          <a:r>
            <a:rPr lang="pt-BR" dirty="0"/>
            <a:t>Empresa</a:t>
          </a:r>
        </a:p>
      </dgm:t>
    </dgm:pt>
    <dgm:pt modelId="{625E32EE-971E-4FFA-9DB2-CCC84F03D6B6}" type="parTrans" cxnId="{518B3EB3-294C-46FD-A44E-58F48FE90D2C}">
      <dgm:prSet/>
      <dgm:spPr/>
      <dgm:t>
        <a:bodyPr/>
        <a:lstStyle/>
        <a:p>
          <a:endParaRPr lang="pt-BR"/>
        </a:p>
      </dgm:t>
    </dgm:pt>
    <dgm:pt modelId="{DB0469E0-24D2-40E4-B060-7F6A5D5DEC16}" type="sibTrans" cxnId="{518B3EB3-294C-46FD-A44E-58F48FE90D2C}">
      <dgm:prSet/>
      <dgm:spPr/>
      <dgm:t>
        <a:bodyPr/>
        <a:lstStyle/>
        <a:p>
          <a:endParaRPr lang="pt-BR"/>
        </a:p>
      </dgm:t>
    </dgm:pt>
    <dgm:pt modelId="{89CB4AA3-2E01-42E5-B7CB-A41364E409DE}" type="pres">
      <dgm:prSet presAssocID="{29CA7C1A-3513-4FDC-997D-73A414A84DE4}" presName="Name0" presStyleCnt="0">
        <dgm:presLayoutVars>
          <dgm:dir/>
          <dgm:resizeHandles val="exact"/>
        </dgm:presLayoutVars>
      </dgm:prSet>
      <dgm:spPr/>
    </dgm:pt>
    <dgm:pt modelId="{8BBEE6F6-99F1-4620-9794-16B379AF04D0}" type="pres">
      <dgm:prSet presAssocID="{D73046D5-A0D3-4AEC-B28B-648E17098907}" presName="node" presStyleLbl="node1" presStyleIdx="0" presStyleCnt="5">
        <dgm:presLayoutVars>
          <dgm:bulletEnabled val="1"/>
        </dgm:presLayoutVars>
      </dgm:prSet>
      <dgm:spPr/>
    </dgm:pt>
    <dgm:pt modelId="{F66CD433-41A7-4F52-B929-B2784CEB08D1}" type="pres">
      <dgm:prSet presAssocID="{A7EADC00-8F9B-4685-86A4-A16F256B297C}" presName="sibTrans" presStyleLbl="sibTrans2D1" presStyleIdx="0" presStyleCnt="4"/>
      <dgm:spPr/>
    </dgm:pt>
    <dgm:pt modelId="{3FE8F9C9-A88E-4DCA-924F-DBCA9850E229}" type="pres">
      <dgm:prSet presAssocID="{A7EADC00-8F9B-4685-86A4-A16F256B297C}" presName="connectorText" presStyleLbl="sibTrans2D1" presStyleIdx="0" presStyleCnt="4"/>
      <dgm:spPr/>
    </dgm:pt>
    <dgm:pt modelId="{F57BBEFE-9785-4D13-8D80-AD713349EF5B}" type="pres">
      <dgm:prSet presAssocID="{4DBE8540-F5FE-4CEF-8106-519445D8AE3D}" presName="node" presStyleLbl="node1" presStyleIdx="1" presStyleCnt="5">
        <dgm:presLayoutVars>
          <dgm:bulletEnabled val="1"/>
        </dgm:presLayoutVars>
      </dgm:prSet>
      <dgm:spPr/>
    </dgm:pt>
    <dgm:pt modelId="{F92D222D-A7B7-49BD-ACFC-8A8FF6106292}" type="pres">
      <dgm:prSet presAssocID="{0DC85C5B-69DA-4042-8F50-AA3C42C22A60}" presName="sibTrans" presStyleLbl="sibTrans2D1" presStyleIdx="1" presStyleCnt="4"/>
      <dgm:spPr/>
    </dgm:pt>
    <dgm:pt modelId="{AF0D2038-03BF-440C-A4C7-94E2A6D6480F}" type="pres">
      <dgm:prSet presAssocID="{0DC85C5B-69DA-4042-8F50-AA3C42C22A60}" presName="connectorText" presStyleLbl="sibTrans2D1" presStyleIdx="1" presStyleCnt="4"/>
      <dgm:spPr/>
    </dgm:pt>
    <dgm:pt modelId="{1E265E7A-9805-4150-B9AA-53FDB8FF8B3D}" type="pres">
      <dgm:prSet presAssocID="{5EFF4A55-979C-404F-9651-0B15BA66A531}" presName="node" presStyleLbl="node1" presStyleIdx="2" presStyleCnt="5">
        <dgm:presLayoutVars>
          <dgm:bulletEnabled val="1"/>
        </dgm:presLayoutVars>
      </dgm:prSet>
      <dgm:spPr/>
    </dgm:pt>
    <dgm:pt modelId="{35942CA4-7AC7-4AD8-A088-068128485E57}" type="pres">
      <dgm:prSet presAssocID="{CF264323-D5AB-4B93-95D0-9758C2ECB15F}" presName="sibTrans" presStyleLbl="sibTrans2D1" presStyleIdx="2" presStyleCnt="4"/>
      <dgm:spPr/>
    </dgm:pt>
    <dgm:pt modelId="{EDC090C4-3A0A-4652-A295-D17CA685EA57}" type="pres">
      <dgm:prSet presAssocID="{CF264323-D5AB-4B93-95D0-9758C2ECB15F}" presName="connectorText" presStyleLbl="sibTrans2D1" presStyleIdx="2" presStyleCnt="4"/>
      <dgm:spPr/>
    </dgm:pt>
    <dgm:pt modelId="{7D4381C8-D637-4F69-81A1-F07C0467612F}" type="pres">
      <dgm:prSet presAssocID="{0905CE24-B7B2-4031-B4D0-E40F6F2BD4B1}" presName="node" presStyleLbl="node1" presStyleIdx="3" presStyleCnt="5">
        <dgm:presLayoutVars>
          <dgm:bulletEnabled val="1"/>
        </dgm:presLayoutVars>
      </dgm:prSet>
      <dgm:spPr/>
    </dgm:pt>
    <dgm:pt modelId="{5A70495A-E376-4C9E-A7B5-882404B740DC}" type="pres">
      <dgm:prSet presAssocID="{99D45C97-1319-4D9E-87B3-D5266B06B09E}" presName="sibTrans" presStyleLbl="sibTrans2D1" presStyleIdx="3" presStyleCnt="4"/>
      <dgm:spPr/>
    </dgm:pt>
    <dgm:pt modelId="{EF59AFCE-2474-48B8-8C99-669A9243F8DF}" type="pres">
      <dgm:prSet presAssocID="{99D45C97-1319-4D9E-87B3-D5266B06B09E}" presName="connectorText" presStyleLbl="sibTrans2D1" presStyleIdx="3" presStyleCnt="4"/>
      <dgm:spPr/>
    </dgm:pt>
    <dgm:pt modelId="{47D355EE-3B0B-4712-9FE3-9EB4B8C69068}" type="pres">
      <dgm:prSet presAssocID="{F6AA178C-14E0-4CAF-AAC0-EEB6227104A9}" presName="node" presStyleLbl="node1" presStyleIdx="4" presStyleCnt="5">
        <dgm:presLayoutVars>
          <dgm:bulletEnabled val="1"/>
        </dgm:presLayoutVars>
      </dgm:prSet>
      <dgm:spPr/>
    </dgm:pt>
  </dgm:ptLst>
  <dgm:cxnLst>
    <dgm:cxn modelId="{40D64513-13DF-472D-8598-3A70B81FE146}" type="presOf" srcId="{CF264323-D5AB-4B93-95D0-9758C2ECB15F}" destId="{EDC090C4-3A0A-4652-A295-D17CA685EA57}" srcOrd="1" destOrd="0" presId="urn:microsoft.com/office/officeart/2005/8/layout/process1"/>
    <dgm:cxn modelId="{3250871B-C919-4520-9FC5-38ECDACC363E}" type="presOf" srcId="{4DBE8540-F5FE-4CEF-8106-519445D8AE3D}" destId="{F57BBEFE-9785-4D13-8D80-AD713349EF5B}" srcOrd="0" destOrd="0" presId="urn:microsoft.com/office/officeart/2005/8/layout/process1"/>
    <dgm:cxn modelId="{49CFD21D-E531-4A9B-B3E4-B09E566FC45F}" type="presOf" srcId="{0DC85C5B-69DA-4042-8F50-AA3C42C22A60}" destId="{F92D222D-A7B7-49BD-ACFC-8A8FF6106292}" srcOrd="0" destOrd="0" presId="urn:microsoft.com/office/officeart/2005/8/layout/process1"/>
    <dgm:cxn modelId="{9B391820-016A-4C26-85D4-D90CFB7B6CAA}" srcId="{29CA7C1A-3513-4FDC-997D-73A414A84DE4}" destId="{4DBE8540-F5FE-4CEF-8106-519445D8AE3D}" srcOrd="1" destOrd="0" parTransId="{E8B02850-D088-4E6D-8D55-D119F1622C0D}" sibTransId="{0DC85C5B-69DA-4042-8F50-AA3C42C22A60}"/>
    <dgm:cxn modelId="{4114922A-5C41-4963-8484-3695832F6408}" type="presOf" srcId="{5EFF4A55-979C-404F-9651-0B15BA66A531}" destId="{1E265E7A-9805-4150-B9AA-53FDB8FF8B3D}" srcOrd="0" destOrd="0" presId="urn:microsoft.com/office/officeart/2005/8/layout/process1"/>
    <dgm:cxn modelId="{3A713C2F-7D73-418B-B1EB-57FD353F8323}" type="presOf" srcId="{A7EADC00-8F9B-4685-86A4-A16F256B297C}" destId="{F66CD433-41A7-4F52-B929-B2784CEB08D1}" srcOrd="0" destOrd="0" presId="urn:microsoft.com/office/officeart/2005/8/layout/process1"/>
    <dgm:cxn modelId="{2D00BB5C-43E9-4FC1-86EC-A11ADD79AD9E}" type="presOf" srcId="{CF264323-D5AB-4B93-95D0-9758C2ECB15F}" destId="{35942CA4-7AC7-4AD8-A088-068128485E57}" srcOrd="0" destOrd="0" presId="urn:microsoft.com/office/officeart/2005/8/layout/process1"/>
    <dgm:cxn modelId="{DC34DE5F-A97C-4707-9A2F-F670E53C80C0}" srcId="{29CA7C1A-3513-4FDC-997D-73A414A84DE4}" destId="{D73046D5-A0D3-4AEC-B28B-648E17098907}" srcOrd="0" destOrd="0" parTransId="{1205C7E5-2AFA-4E7C-8C9E-37C3AB725D97}" sibTransId="{A7EADC00-8F9B-4685-86A4-A16F256B297C}"/>
    <dgm:cxn modelId="{63AC7761-1327-4A69-9781-8C182B2FC7C8}" type="presOf" srcId="{0905CE24-B7B2-4031-B4D0-E40F6F2BD4B1}" destId="{7D4381C8-D637-4F69-81A1-F07C0467612F}" srcOrd="0" destOrd="0" presId="urn:microsoft.com/office/officeart/2005/8/layout/process1"/>
    <dgm:cxn modelId="{E6E57879-6792-4FC0-BED9-E7EBAE46BF9B}" type="presOf" srcId="{99D45C97-1319-4D9E-87B3-D5266B06B09E}" destId="{EF59AFCE-2474-48B8-8C99-669A9243F8DF}" srcOrd="1" destOrd="0" presId="urn:microsoft.com/office/officeart/2005/8/layout/process1"/>
    <dgm:cxn modelId="{297AF581-4ED5-446F-A04C-8C985D34F06F}" type="presOf" srcId="{D73046D5-A0D3-4AEC-B28B-648E17098907}" destId="{8BBEE6F6-99F1-4620-9794-16B379AF04D0}" srcOrd="0" destOrd="0" presId="urn:microsoft.com/office/officeart/2005/8/layout/process1"/>
    <dgm:cxn modelId="{82469A89-D5BC-43F4-9B08-F1F86FED95CB}" type="presOf" srcId="{0DC85C5B-69DA-4042-8F50-AA3C42C22A60}" destId="{AF0D2038-03BF-440C-A4C7-94E2A6D6480F}" srcOrd="1" destOrd="0" presId="urn:microsoft.com/office/officeart/2005/8/layout/process1"/>
    <dgm:cxn modelId="{4888398E-B196-4751-B7D4-3EC6185593FE}" type="presOf" srcId="{A7EADC00-8F9B-4685-86A4-A16F256B297C}" destId="{3FE8F9C9-A88E-4DCA-924F-DBCA9850E229}" srcOrd="1" destOrd="0" presId="urn:microsoft.com/office/officeart/2005/8/layout/process1"/>
    <dgm:cxn modelId="{195F24B0-BF7E-4D29-93EA-EBA0047558D3}" srcId="{29CA7C1A-3513-4FDC-997D-73A414A84DE4}" destId="{0905CE24-B7B2-4031-B4D0-E40F6F2BD4B1}" srcOrd="3" destOrd="0" parTransId="{3A56AFFE-F34D-4CA7-B3AD-6929330DF2A4}" sibTransId="{99D45C97-1319-4D9E-87B3-D5266B06B09E}"/>
    <dgm:cxn modelId="{518B3EB3-294C-46FD-A44E-58F48FE90D2C}" srcId="{29CA7C1A-3513-4FDC-997D-73A414A84DE4}" destId="{F6AA178C-14E0-4CAF-AAC0-EEB6227104A9}" srcOrd="4" destOrd="0" parTransId="{625E32EE-971E-4FFA-9DB2-CCC84F03D6B6}" sibTransId="{DB0469E0-24D2-40E4-B060-7F6A5D5DEC16}"/>
    <dgm:cxn modelId="{B584A1BF-6D9D-4400-A6E5-0B7E51BA9FAD}" type="presOf" srcId="{99D45C97-1319-4D9E-87B3-D5266B06B09E}" destId="{5A70495A-E376-4C9E-A7B5-882404B740DC}" srcOrd="0" destOrd="0" presId="urn:microsoft.com/office/officeart/2005/8/layout/process1"/>
    <dgm:cxn modelId="{CC1871D5-40D1-4B6D-8C4F-003A74328A5A}" type="presOf" srcId="{F6AA178C-14E0-4CAF-AAC0-EEB6227104A9}" destId="{47D355EE-3B0B-4712-9FE3-9EB4B8C69068}" srcOrd="0" destOrd="0" presId="urn:microsoft.com/office/officeart/2005/8/layout/process1"/>
    <dgm:cxn modelId="{48CDA9EB-7488-40D7-A8BB-E028F4F8FC32}" type="presOf" srcId="{29CA7C1A-3513-4FDC-997D-73A414A84DE4}" destId="{89CB4AA3-2E01-42E5-B7CB-A41364E409DE}" srcOrd="0" destOrd="0" presId="urn:microsoft.com/office/officeart/2005/8/layout/process1"/>
    <dgm:cxn modelId="{93E1BBFB-CF1C-4916-B0F0-2DBBC7594737}" srcId="{29CA7C1A-3513-4FDC-997D-73A414A84DE4}" destId="{5EFF4A55-979C-404F-9651-0B15BA66A531}" srcOrd="2" destOrd="0" parTransId="{68FF0FEC-5483-4085-B802-C8AFF0B18C70}" sibTransId="{CF264323-D5AB-4B93-95D0-9758C2ECB15F}"/>
    <dgm:cxn modelId="{A39BDDD9-F5EB-4769-A629-FA55F1F51D0E}" type="presParOf" srcId="{89CB4AA3-2E01-42E5-B7CB-A41364E409DE}" destId="{8BBEE6F6-99F1-4620-9794-16B379AF04D0}" srcOrd="0" destOrd="0" presId="urn:microsoft.com/office/officeart/2005/8/layout/process1"/>
    <dgm:cxn modelId="{3063A1D5-5431-4C90-A9CE-2127D4674E93}" type="presParOf" srcId="{89CB4AA3-2E01-42E5-B7CB-A41364E409DE}" destId="{F66CD433-41A7-4F52-B929-B2784CEB08D1}" srcOrd="1" destOrd="0" presId="urn:microsoft.com/office/officeart/2005/8/layout/process1"/>
    <dgm:cxn modelId="{02DAB012-7832-4110-8C9A-D5020CB759C5}" type="presParOf" srcId="{F66CD433-41A7-4F52-B929-B2784CEB08D1}" destId="{3FE8F9C9-A88E-4DCA-924F-DBCA9850E229}" srcOrd="0" destOrd="0" presId="urn:microsoft.com/office/officeart/2005/8/layout/process1"/>
    <dgm:cxn modelId="{95F393B7-50DF-4A5E-999D-636C41399F58}" type="presParOf" srcId="{89CB4AA3-2E01-42E5-B7CB-A41364E409DE}" destId="{F57BBEFE-9785-4D13-8D80-AD713349EF5B}" srcOrd="2" destOrd="0" presId="urn:microsoft.com/office/officeart/2005/8/layout/process1"/>
    <dgm:cxn modelId="{0589D428-255F-4C69-A679-C97A985C9D78}" type="presParOf" srcId="{89CB4AA3-2E01-42E5-B7CB-A41364E409DE}" destId="{F92D222D-A7B7-49BD-ACFC-8A8FF6106292}" srcOrd="3" destOrd="0" presId="urn:microsoft.com/office/officeart/2005/8/layout/process1"/>
    <dgm:cxn modelId="{1FEC91BA-C474-4835-A701-1D7004FE4A24}" type="presParOf" srcId="{F92D222D-A7B7-49BD-ACFC-8A8FF6106292}" destId="{AF0D2038-03BF-440C-A4C7-94E2A6D6480F}" srcOrd="0" destOrd="0" presId="urn:microsoft.com/office/officeart/2005/8/layout/process1"/>
    <dgm:cxn modelId="{20084EF7-CFC7-4B33-9E5A-4063E8B8C056}" type="presParOf" srcId="{89CB4AA3-2E01-42E5-B7CB-A41364E409DE}" destId="{1E265E7A-9805-4150-B9AA-53FDB8FF8B3D}" srcOrd="4" destOrd="0" presId="urn:microsoft.com/office/officeart/2005/8/layout/process1"/>
    <dgm:cxn modelId="{F592B1BD-BDDF-474A-AC1F-D97ABEF1BEB5}" type="presParOf" srcId="{89CB4AA3-2E01-42E5-B7CB-A41364E409DE}" destId="{35942CA4-7AC7-4AD8-A088-068128485E57}" srcOrd="5" destOrd="0" presId="urn:microsoft.com/office/officeart/2005/8/layout/process1"/>
    <dgm:cxn modelId="{1841BCFD-592C-4B18-BC97-47B08D7EA57B}" type="presParOf" srcId="{35942CA4-7AC7-4AD8-A088-068128485E57}" destId="{EDC090C4-3A0A-4652-A295-D17CA685EA57}" srcOrd="0" destOrd="0" presId="urn:microsoft.com/office/officeart/2005/8/layout/process1"/>
    <dgm:cxn modelId="{556FD1A3-1053-476B-A6F6-C1DFDD0DE0EB}" type="presParOf" srcId="{89CB4AA3-2E01-42E5-B7CB-A41364E409DE}" destId="{7D4381C8-D637-4F69-81A1-F07C0467612F}" srcOrd="6" destOrd="0" presId="urn:microsoft.com/office/officeart/2005/8/layout/process1"/>
    <dgm:cxn modelId="{7CEBD364-FABC-4D8A-9A34-B709F4D825E1}" type="presParOf" srcId="{89CB4AA3-2E01-42E5-B7CB-A41364E409DE}" destId="{5A70495A-E376-4C9E-A7B5-882404B740DC}" srcOrd="7" destOrd="0" presId="urn:microsoft.com/office/officeart/2005/8/layout/process1"/>
    <dgm:cxn modelId="{84EDB532-6DBE-4DE8-956B-14846FAED168}" type="presParOf" srcId="{5A70495A-E376-4C9E-A7B5-882404B740DC}" destId="{EF59AFCE-2474-48B8-8C99-669A9243F8DF}" srcOrd="0" destOrd="0" presId="urn:microsoft.com/office/officeart/2005/8/layout/process1"/>
    <dgm:cxn modelId="{B76B54E8-5B67-4363-B341-07EE59F1F96A}" type="presParOf" srcId="{89CB4AA3-2E01-42E5-B7CB-A41364E409DE}" destId="{47D355EE-3B0B-4712-9FE3-9EB4B8C69068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BEE6F6-99F1-4620-9794-16B379AF04D0}">
      <dsp:nvSpPr>
        <dsp:cNvPr id="0" name=""/>
        <dsp:cNvSpPr/>
      </dsp:nvSpPr>
      <dsp:spPr>
        <a:xfrm>
          <a:off x="5681" y="279061"/>
          <a:ext cx="1761187" cy="10567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Empresa</a:t>
          </a:r>
        </a:p>
      </dsp:txBody>
      <dsp:txXfrm>
        <a:off x="36631" y="310011"/>
        <a:ext cx="1699287" cy="994812"/>
      </dsp:txXfrm>
    </dsp:sp>
    <dsp:sp modelId="{F66CD433-41A7-4F52-B929-B2784CEB08D1}">
      <dsp:nvSpPr>
        <dsp:cNvPr id="0" name=""/>
        <dsp:cNvSpPr/>
      </dsp:nvSpPr>
      <dsp:spPr>
        <a:xfrm>
          <a:off x="1942987" y="589030"/>
          <a:ext cx="373371" cy="4367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500" kern="1200"/>
        </a:p>
      </dsp:txBody>
      <dsp:txXfrm>
        <a:off x="1942987" y="676385"/>
        <a:ext cx="261360" cy="262064"/>
      </dsp:txXfrm>
    </dsp:sp>
    <dsp:sp modelId="{F57BBEFE-9785-4D13-8D80-AD713349EF5B}">
      <dsp:nvSpPr>
        <dsp:cNvPr id="0" name=""/>
        <dsp:cNvSpPr/>
      </dsp:nvSpPr>
      <dsp:spPr>
        <a:xfrm>
          <a:off x="2471343" y="279061"/>
          <a:ext cx="1761187" cy="10567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Créditos Escriturais</a:t>
          </a:r>
        </a:p>
      </dsp:txBody>
      <dsp:txXfrm>
        <a:off x="2502293" y="310011"/>
        <a:ext cx="1699287" cy="994812"/>
      </dsp:txXfrm>
    </dsp:sp>
    <dsp:sp modelId="{F92D222D-A7B7-49BD-ACFC-8A8FF6106292}">
      <dsp:nvSpPr>
        <dsp:cNvPr id="0" name=""/>
        <dsp:cNvSpPr/>
      </dsp:nvSpPr>
      <dsp:spPr>
        <a:xfrm>
          <a:off x="4408650" y="589030"/>
          <a:ext cx="373371" cy="4367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500" kern="1200"/>
        </a:p>
      </dsp:txBody>
      <dsp:txXfrm>
        <a:off x="4408650" y="676385"/>
        <a:ext cx="261360" cy="262064"/>
      </dsp:txXfrm>
    </dsp:sp>
    <dsp:sp modelId="{1E265E7A-9805-4150-B9AA-53FDB8FF8B3D}">
      <dsp:nvSpPr>
        <dsp:cNvPr id="0" name=""/>
        <dsp:cNvSpPr/>
      </dsp:nvSpPr>
      <dsp:spPr>
        <a:xfrm>
          <a:off x="4937006" y="279061"/>
          <a:ext cx="1761187" cy="10567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Créditos Homologados</a:t>
          </a:r>
        </a:p>
      </dsp:txBody>
      <dsp:txXfrm>
        <a:off x="4967956" y="310011"/>
        <a:ext cx="1699287" cy="994812"/>
      </dsp:txXfrm>
    </dsp:sp>
    <dsp:sp modelId="{35942CA4-7AC7-4AD8-A088-068128485E57}">
      <dsp:nvSpPr>
        <dsp:cNvPr id="0" name=""/>
        <dsp:cNvSpPr/>
      </dsp:nvSpPr>
      <dsp:spPr>
        <a:xfrm>
          <a:off x="6874313" y="589030"/>
          <a:ext cx="373371" cy="4367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500" kern="1200"/>
        </a:p>
      </dsp:txBody>
      <dsp:txXfrm>
        <a:off x="6874313" y="676385"/>
        <a:ext cx="261360" cy="262064"/>
      </dsp:txXfrm>
    </dsp:sp>
    <dsp:sp modelId="{7D4381C8-D637-4F69-81A1-F07C0467612F}">
      <dsp:nvSpPr>
        <dsp:cNvPr id="0" name=""/>
        <dsp:cNvSpPr/>
      </dsp:nvSpPr>
      <dsp:spPr>
        <a:xfrm>
          <a:off x="7402669" y="279061"/>
          <a:ext cx="1761187" cy="10567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Precatórios</a:t>
          </a:r>
        </a:p>
      </dsp:txBody>
      <dsp:txXfrm>
        <a:off x="7433619" y="310011"/>
        <a:ext cx="1699287" cy="994812"/>
      </dsp:txXfrm>
    </dsp:sp>
    <dsp:sp modelId="{5A70495A-E376-4C9E-A7B5-882404B740DC}">
      <dsp:nvSpPr>
        <dsp:cNvPr id="0" name=""/>
        <dsp:cNvSpPr/>
      </dsp:nvSpPr>
      <dsp:spPr>
        <a:xfrm>
          <a:off x="9339975" y="589030"/>
          <a:ext cx="373371" cy="4367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500" kern="1200"/>
        </a:p>
      </dsp:txBody>
      <dsp:txXfrm>
        <a:off x="9339975" y="676385"/>
        <a:ext cx="261360" cy="262064"/>
      </dsp:txXfrm>
    </dsp:sp>
    <dsp:sp modelId="{47D355EE-3B0B-4712-9FE3-9EB4B8C69068}">
      <dsp:nvSpPr>
        <dsp:cNvPr id="0" name=""/>
        <dsp:cNvSpPr/>
      </dsp:nvSpPr>
      <dsp:spPr>
        <a:xfrm>
          <a:off x="9868332" y="279061"/>
          <a:ext cx="1761187" cy="10567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Empresa</a:t>
          </a:r>
        </a:p>
      </dsp:txBody>
      <dsp:txXfrm>
        <a:off x="9899282" y="310011"/>
        <a:ext cx="1699287" cy="9948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FDB5DA03-A398-45D5-A085-415D2FE92063}" type="datetimeFigureOut">
              <a:rPr lang="pt-BR" smtClean="0"/>
              <a:t>05/09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88028752-8FF2-4908-884A-B253BF5A61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668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 /><Relationship Id="rId1" Type="http://schemas.openxmlformats.org/officeDocument/2006/relationships/notesMaster" Target="../notesMasters/notesMaster1.xml" 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 /><Relationship Id="rId1" Type="http://schemas.openxmlformats.org/officeDocument/2006/relationships/notesMaster" Target="../notesMasters/notesMaster1.xml" 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 /><Relationship Id="rId1" Type="http://schemas.openxmlformats.org/officeDocument/2006/relationships/notesMaster" Target="../notesMasters/notesMaster1.xml" 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054F7-2EFA-4EC9-8895-45C23EBE5B87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50481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Global </a:t>
            </a:r>
            <a:r>
              <a:rPr lang="pt-BR" err="1"/>
              <a:t>innovation</a:t>
            </a:r>
            <a:r>
              <a:rPr lang="pt-BR"/>
              <a:t> index avaliou 132 países.</a:t>
            </a:r>
            <a:br>
              <a:rPr lang="pt-BR"/>
            </a:br>
            <a:r>
              <a:rPr lang="pt-BR"/>
              <a:t>Países foram divididos em 7 regiões</a:t>
            </a:r>
            <a:br>
              <a:rPr lang="pt-BR"/>
            </a:br>
            <a:r>
              <a:rPr lang="pt-BR"/>
              <a:t>Imagem mostra os 3 líderes de cada região.</a:t>
            </a:r>
            <a:br>
              <a:rPr lang="pt-BR"/>
            </a:br>
            <a:r>
              <a:rPr lang="pt-BR"/>
              <a:t>O primeiro ponto de atenção: dos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918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054F7-2EFA-4EC9-8895-45C23EBE5B8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54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054F7-2EFA-4EC9-8895-45C23EBE5B87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3909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054F7-2EFA-4EC9-8895-45C23EBE5B87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43556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054F7-2EFA-4EC9-8895-45C23EBE5B87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5048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054F7-2EFA-4EC9-8895-45C23EBE5B87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32599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054F7-2EFA-4EC9-8895-45C23EBE5B87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2605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F054F7-2EFA-4EC9-8895-45C23EBE5B87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197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5930DF0-104B-4293-A7F6-66AEFF3E6AF8}"/>
              </a:ext>
            </a:extLst>
          </p:cNvPr>
          <p:cNvGrpSpPr/>
          <p:nvPr userDrawn="1"/>
        </p:nvGrpSpPr>
        <p:grpSpPr>
          <a:xfrm>
            <a:off x="12554553" y="1"/>
            <a:ext cx="1647523" cy="1816099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:a16="http://schemas.microsoft.com/office/drawing/2014/main" id="{9FDF5E90-AE29-4303-979F-161F791D98BB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r>
                <a:rPr lang="en-US" sz="1400">
                  <a:solidFill>
                    <a:schemeClr val="accent2">
                      <a:lumMod val="50000"/>
                    </a:schemeClr>
                  </a:solidFill>
                </a:rPr>
                <a:t>To insert your own icons*:</a:t>
              </a:r>
            </a:p>
            <a:p>
              <a:endParaRPr lang="en-US" sz="1400">
                <a:solidFill>
                  <a:schemeClr val="accent2">
                    <a:lumMod val="50000"/>
                  </a:schemeClr>
                </a:solidFill>
              </a:endParaRPr>
            </a:p>
            <a:p>
              <a:r>
                <a:rPr lang="en-US" sz="1400" b="1">
                  <a:solidFill>
                    <a:schemeClr val="accent2">
                      <a:lumMod val="50000"/>
                    </a:schemeClr>
                  </a:solidFill>
                </a:rPr>
                <a:t>Insert</a:t>
              </a:r>
              <a:r>
                <a:rPr lang="en-US" sz="1400">
                  <a:solidFill>
                    <a:schemeClr val="accent2">
                      <a:lumMod val="50000"/>
                    </a:schemeClr>
                  </a:solidFill>
                </a:rPr>
                <a:t> &gt;&gt; </a:t>
              </a:r>
              <a:r>
                <a:rPr lang="en-US" sz="1400" b="1">
                  <a:solidFill>
                    <a:schemeClr val="accent2">
                      <a:lumMod val="50000"/>
                    </a:schemeClr>
                  </a:solidFill>
                </a:rPr>
                <a:t>Icons</a:t>
              </a:r>
            </a:p>
            <a:p>
              <a:endParaRPr lang="en-US" sz="1400">
                <a:solidFill>
                  <a:schemeClr val="accent2">
                    <a:lumMod val="50000"/>
                  </a:schemeClr>
                </a:solidFill>
              </a:endParaRPr>
            </a:p>
            <a:p>
              <a:r>
                <a:rPr lang="en-US" sz="1200" i="1">
                  <a:solidFill>
                    <a:schemeClr val="accent2">
                      <a:lumMod val="50000"/>
                    </a:scheme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C25032D-D31A-446E-BBAA-A896C50E8C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6844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sz="quarter" idx="1"/>
          </p:nvPr>
        </p:nvSpPr>
        <p:spPr>
          <a:xfrm>
            <a:off x="1981200" y="1535112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50"/>
              </a:spcBef>
              <a:buSzTx/>
              <a:buFontTx/>
              <a:buNone/>
              <a:defRPr sz="2400" b="1"/>
            </a:lvl1pPr>
          </a:lstStyle>
          <a:p>
            <a:r>
              <a:t>Click to edit Master text styles</a:t>
            </a:r>
          </a:p>
        </p:txBody>
      </p:sp>
      <p:sp>
        <p:nvSpPr>
          <p:cNvPr id="49" name="Shape 49"/>
          <p:cNvSpPr>
            <a:spLocks noGrp="1"/>
          </p:cNvSpPr>
          <p:nvPr>
            <p:ph type="body" sz="quarter" idx="13"/>
          </p:nvPr>
        </p:nvSpPr>
        <p:spPr>
          <a:xfrm>
            <a:off x="6169025" y="1535112"/>
            <a:ext cx="4041775" cy="639763"/>
          </a:xfrm>
          <a:prstGeom prst="rect">
            <a:avLst/>
          </a:prstGeom>
          <a:ln w="12700"/>
        </p:spPr>
        <p:txBody>
          <a:bodyPr anchor="b"/>
          <a:lstStyle>
            <a:lvl1pPr marL="0" indent="0">
              <a:spcBef>
                <a:spcPts val="550"/>
              </a:spcBef>
              <a:buSzTx/>
              <a:buFontTx/>
              <a:buNone/>
              <a:defRPr sz="4800" b="1"/>
            </a:lvl1pPr>
          </a:lstStyle>
          <a:p>
            <a:pPr marL="0" indent="0">
              <a:spcBef>
                <a:spcPts val="1100"/>
              </a:spcBef>
              <a:buSzTx/>
              <a:buFontTx/>
              <a:buNone/>
              <a:defRPr sz="4800" b="1"/>
            </a:pPr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3051946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5868553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xfrm>
            <a:off x="1981200" y="273050"/>
            <a:ext cx="300831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Click to edit Master title style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sz="half" idx="1"/>
          </p:nvPr>
        </p:nvSpPr>
        <p:spPr>
          <a:xfrm>
            <a:off x="5099050" y="273050"/>
            <a:ext cx="5111750" cy="5853113"/>
          </a:xfrm>
          <a:prstGeom prst="rect">
            <a:avLst/>
          </a:prstGeom>
        </p:spPr>
        <p:txBody>
          <a:bodyPr/>
          <a:lstStyle/>
          <a:p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74" name="Shape 74"/>
          <p:cNvSpPr>
            <a:spLocks noGrp="1"/>
          </p:cNvSpPr>
          <p:nvPr>
            <p:ph type="body" sz="quarter" idx="13"/>
          </p:nvPr>
        </p:nvSpPr>
        <p:spPr>
          <a:xfrm>
            <a:off x="1981200" y="1435100"/>
            <a:ext cx="3008314" cy="4691063"/>
          </a:xfrm>
          <a:prstGeom prst="rect">
            <a:avLst/>
          </a:prstGeom>
          <a:ln w="12700"/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2800"/>
            </a:lvl1pPr>
          </a:lstStyle>
          <a:p>
            <a:pPr marL="0" indent="0">
              <a:spcBef>
                <a:spcPts val="600"/>
              </a:spcBef>
              <a:buSzTx/>
              <a:buFontTx/>
              <a:buNone/>
              <a:defRPr sz="2800"/>
            </a:pPr>
            <a:endParaRPr/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050487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/>
          </p:cNvSpPr>
          <p:nvPr>
            <p:ph type="title"/>
          </p:nvPr>
        </p:nvSpPr>
        <p:spPr>
          <a:xfrm>
            <a:off x="3316288" y="4800600"/>
            <a:ext cx="5486401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Click to edit Master title style</a:t>
            </a:r>
          </a:p>
        </p:txBody>
      </p:sp>
      <p:sp>
        <p:nvSpPr>
          <p:cNvPr id="83" name="Shape 83"/>
          <p:cNvSpPr>
            <a:spLocks noGrp="1"/>
          </p:cNvSpPr>
          <p:nvPr>
            <p:ph type="pic" sz="half" idx="13"/>
          </p:nvPr>
        </p:nvSpPr>
        <p:spPr>
          <a:xfrm>
            <a:off x="3316288" y="612775"/>
            <a:ext cx="5486401" cy="4114800"/>
          </a:xfrm>
          <a:prstGeom prst="rect">
            <a:avLst/>
          </a:prstGeom>
          <a:ln w="12700"/>
        </p:spPr>
        <p:txBody>
          <a:bodyPr tIns="45719" bIns="45719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body" sz="quarter" idx="1"/>
          </p:nvPr>
        </p:nvSpPr>
        <p:spPr>
          <a:xfrm>
            <a:off x="3316288" y="5367338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</a:lstStyle>
          <a:p>
            <a:r>
              <a:t>Click to edit Master text styles</a:t>
            </a:r>
          </a:p>
        </p:txBody>
      </p:sp>
      <p:sp>
        <p:nvSpPr>
          <p:cNvPr id="85" name="Shape 8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5663865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92B714-AC9D-42C6-8006-53AB7470E0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01B9FD9-7F67-40C0-BE97-EA058689E4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C36BDD1-AE02-4F8B-A2EA-6E11F0EFAB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6EE8CD-771B-4F78-96C8-53308A002163}" type="datetimeFigureOut">
              <a:rPr lang="pt-BR" smtClean="0"/>
              <a:t>05/09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C3B8DD3-88AC-4D28-86BF-8D4F49CE42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8E3E549-96EA-481F-B6DE-7A6872D4C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EE1BD-C581-48F9-B7F6-489173F2D52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1655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5B924D0-0862-48EF-A0F0-CB2A92CDB0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6EE8CD-771B-4F78-96C8-53308A002163}" type="datetimeFigureOut">
              <a:rPr lang="pt-BR" smtClean="0"/>
              <a:t>05/09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40481AF-8FD8-4452-AEBF-F0E879C07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F458158-5AE4-42B0-9871-03F8FF845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EE1BD-C581-48F9-B7F6-489173F2D52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62793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 /><Relationship Id="rId2" Type="http://schemas.openxmlformats.org/officeDocument/2006/relationships/theme" Target="../theme/theme1.xml" /><Relationship Id="rId1" Type="http://schemas.openxmlformats.org/officeDocument/2006/relationships/slideLayout" Target="../slideLayouts/slideLayout1.xml" /><Relationship Id="rId4" Type="http://schemas.openxmlformats.org/officeDocument/2006/relationships/image" Target="../media/image1.png" 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 /><Relationship Id="rId7" Type="http://schemas.openxmlformats.org/officeDocument/2006/relationships/theme" Target="../theme/theme2.xml" /><Relationship Id="rId2" Type="http://schemas.openxmlformats.org/officeDocument/2006/relationships/slideLayout" Target="../slideLayouts/slideLayout3.xml" /><Relationship Id="rId1" Type="http://schemas.openxmlformats.org/officeDocument/2006/relationships/slideLayout" Target="../slideLayouts/slideLayout2.xml" /><Relationship Id="rId6" Type="http://schemas.openxmlformats.org/officeDocument/2006/relationships/slideLayout" Target="../slideLayouts/slideLayout7.xml" /><Relationship Id="rId5" Type="http://schemas.openxmlformats.org/officeDocument/2006/relationships/slideLayout" Target="../slideLayouts/slideLayout6.xml" /><Relationship Id="rId4" Type="http://schemas.openxmlformats.org/officeDocument/2006/relationships/slideLayout" Target="../slideLayouts/slideLayout5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63482"/>
            <a:ext cx="10515600" cy="739056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19200"/>
            <a:ext cx="10515600" cy="4957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305911"/>
            <a:ext cx="12192000" cy="552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15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3200" b="0" i="0" u="none" strike="noStrike" kern="1200" cap="none" spc="15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3200" b="0" i="0" u="none" strike="noStrike" kern="1200" cap="none" spc="15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2701" y="6959601"/>
            <a:ext cx="16610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0" i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1100" b="0" i="0" u="none" strike="noStrike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3" tooltip="PresentationGo!"/>
              </a:rPr>
              <a:t>presentationgo.com</a:t>
            </a:r>
            <a:endParaRPr lang="en-US" sz="1100"/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91178" y="173588"/>
            <a:ext cx="369496" cy="570902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654908" y="-16654"/>
            <a:ext cx="1569183" cy="612144"/>
            <a:chOff x="-2096383" y="21447"/>
            <a:chExt cx="1569183" cy="612144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36580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9546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114300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Click to edit Master title style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1981200" y="1600200"/>
            <a:ext cx="8229600" cy="452596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normAutofit/>
          </a:bodyPr>
          <a:lstStyle/>
          <a:p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9782478" y="6354248"/>
            <a:ext cx="428323" cy="369330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53006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9" r:id="rId2"/>
    <p:sldLayoutId id="2147483670" r:id="rId3"/>
    <p:sldLayoutId id="2147483671" r:id="rId4"/>
    <p:sldLayoutId id="2147483680" r:id="rId5"/>
    <p:sldLayoutId id="2147483694" r:id="rId6"/>
  </p:sldLayoutIdLst>
  <p:transition spd="med"/>
  <p:txStyles>
    <p:titleStyle>
      <a:lvl1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titleStyle>
    <p:bodyStyle>
      <a:lvl1pPr marL="342900" marR="0" indent="-34290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555171" marR="0" indent="-326571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762000" marR="0" indent="-30480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10515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12801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15087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17373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19659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2194560" marR="0" indent="-365760" algn="l" defTabSz="457200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286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4572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6858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9144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1430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3716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6002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18288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Layout" Target="../slideLayouts/slideLayout6.xml" 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notesSlide" Target="../notesSlides/notesSlide9.xml" /><Relationship Id="rId1" Type="http://schemas.openxmlformats.org/officeDocument/2006/relationships/slideLayout" Target="../slideLayouts/slideLayout7.xml" /><Relationship Id="rId4" Type="http://schemas.openxmlformats.org/officeDocument/2006/relationships/image" Target="../media/image45.jpeg" 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 /><Relationship Id="rId13" Type="http://schemas.openxmlformats.org/officeDocument/2006/relationships/image" Target="../media/image12.jpeg" /><Relationship Id="rId18" Type="http://schemas.openxmlformats.org/officeDocument/2006/relationships/image" Target="../media/image17.png" /><Relationship Id="rId26" Type="http://schemas.openxmlformats.org/officeDocument/2006/relationships/image" Target="../media/image25.jpeg" /><Relationship Id="rId3" Type="http://schemas.openxmlformats.org/officeDocument/2006/relationships/notesSlide" Target="../notesSlides/notesSlide1.xml" /><Relationship Id="rId21" Type="http://schemas.openxmlformats.org/officeDocument/2006/relationships/image" Target="../media/image20.png" /><Relationship Id="rId7" Type="http://schemas.openxmlformats.org/officeDocument/2006/relationships/image" Target="../media/image6.png" /><Relationship Id="rId12" Type="http://schemas.openxmlformats.org/officeDocument/2006/relationships/image" Target="../media/image11.png" /><Relationship Id="rId17" Type="http://schemas.openxmlformats.org/officeDocument/2006/relationships/image" Target="../media/image16.png" /><Relationship Id="rId25" Type="http://schemas.openxmlformats.org/officeDocument/2006/relationships/image" Target="../media/image24.jpeg" /><Relationship Id="rId2" Type="http://schemas.openxmlformats.org/officeDocument/2006/relationships/slideLayout" Target="../slideLayouts/slideLayout7.xml" /><Relationship Id="rId16" Type="http://schemas.openxmlformats.org/officeDocument/2006/relationships/image" Target="../media/image15.png" /><Relationship Id="rId20" Type="http://schemas.openxmlformats.org/officeDocument/2006/relationships/image" Target="../media/image19.png" /><Relationship Id="rId1" Type="http://schemas.openxmlformats.org/officeDocument/2006/relationships/tags" Target="../tags/tag1.xml" /><Relationship Id="rId6" Type="http://schemas.openxmlformats.org/officeDocument/2006/relationships/image" Target="../media/image5.png" /><Relationship Id="rId11" Type="http://schemas.openxmlformats.org/officeDocument/2006/relationships/image" Target="../media/image10.png" /><Relationship Id="rId24" Type="http://schemas.openxmlformats.org/officeDocument/2006/relationships/image" Target="../media/image23.png" /><Relationship Id="rId5" Type="http://schemas.openxmlformats.org/officeDocument/2006/relationships/image" Target="../media/image4.emf" /><Relationship Id="rId15" Type="http://schemas.openxmlformats.org/officeDocument/2006/relationships/image" Target="../media/image14.png" /><Relationship Id="rId23" Type="http://schemas.openxmlformats.org/officeDocument/2006/relationships/image" Target="../media/image22.jpeg" /><Relationship Id="rId28" Type="http://schemas.openxmlformats.org/officeDocument/2006/relationships/image" Target="../media/image27.jpg" /><Relationship Id="rId10" Type="http://schemas.openxmlformats.org/officeDocument/2006/relationships/image" Target="../media/image9.png" /><Relationship Id="rId19" Type="http://schemas.openxmlformats.org/officeDocument/2006/relationships/image" Target="../media/image18.png" /><Relationship Id="rId4" Type="http://schemas.openxmlformats.org/officeDocument/2006/relationships/oleObject" Target="../embeddings/oleObject1.bin" /><Relationship Id="rId9" Type="http://schemas.openxmlformats.org/officeDocument/2006/relationships/image" Target="../media/image8.png" /><Relationship Id="rId14" Type="http://schemas.openxmlformats.org/officeDocument/2006/relationships/image" Target="../media/image13.jpeg" /><Relationship Id="rId22" Type="http://schemas.openxmlformats.org/officeDocument/2006/relationships/image" Target="../media/image21.png" /><Relationship Id="rId27" Type="http://schemas.openxmlformats.org/officeDocument/2006/relationships/image" Target="../media/image26.png" 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 /><Relationship Id="rId13" Type="http://schemas.openxmlformats.org/officeDocument/2006/relationships/image" Target="../media/image34.png" /><Relationship Id="rId3" Type="http://schemas.openxmlformats.org/officeDocument/2006/relationships/notesSlide" Target="../notesSlides/notesSlide2.xml" /><Relationship Id="rId7" Type="http://schemas.openxmlformats.org/officeDocument/2006/relationships/image" Target="../media/image28.png" /><Relationship Id="rId12" Type="http://schemas.openxmlformats.org/officeDocument/2006/relationships/image" Target="../media/image33.png" /><Relationship Id="rId2" Type="http://schemas.openxmlformats.org/officeDocument/2006/relationships/slideLayout" Target="../slideLayouts/slideLayout7.xml" /><Relationship Id="rId1" Type="http://schemas.openxmlformats.org/officeDocument/2006/relationships/tags" Target="../tags/tag2.xml" /><Relationship Id="rId6" Type="http://schemas.openxmlformats.org/officeDocument/2006/relationships/image" Target="../media/image5.png" /><Relationship Id="rId11" Type="http://schemas.openxmlformats.org/officeDocument/2006/relationships/image" Target="../media/image32.png" /><Relationship Id="rId5" Type="http://schemas.openxmlformats.org/officeDocument/2006/relationships/image" Target="../media/image4.emf" /><Relationship Id="rId10" Type="http://schemas.openxmlformats.org/officeDocument/2006/relationships/image" Target="../media/image31.png" /><Relationship Id="rId4" Type="http://schemas.openxmlformats.org/officeDocument/2006/relationships/oleObject" Target="../embeddings/oleObject2.bin" /><Relationship Id="rId9" Type="http://schemas.openxmlformats.org/officeDocument/2006/relationships/image" Target="../media/image30.png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 /><Relationship Id="rId3" Type="http://schemas.openxmlformats.org/officeDocument/2006/relationships/notesSlide" Target="../notesSlides/notesSlide3.xml" /><Relationship Id="rId7" Type="http://schemas.openxmlformats.org/officeDocument/2006/relationships/image" Target="../media/image28.png" /><Relationship Id="rId12" Type="http://schemas.openxmlformats.org/officeDocument/2006/relationships/image" Target="../media/image35.png" /><Relationship Id="rId2" Type="http://schemas.openxmlformats.org/officeDocument/2006/relationships/slideLayout" Target="../slideLayouts/slideLayout7.xml" /><Relationship Id="rId1" Type="http://schemas.openxmlformats.org/officeDocument/2006/relationships/tags" Target="../tags/tag3.xml" /><Relationship Id="rId6" Type="http://schemas.openxmlformats.org/officeDocument/2006/relationships/image" Target="../media/image5.png" /><Relationship Id="rId11" Type="http://schemas.openxmlformats.org/officeDocument/2006/relationships/image" Target="../media/image34.png" /><Relationship Id="rId5" Type="http://schemas.openxmlformats.org/officeDocument/2006/relationships/image" Target="../media/image4.emf" /><Relationship Id="rId10" Type="http://schemas.openxmlformats.org/officeDocument/2006/relationships/image" Target="../media/image33.png" /><Relationship Id="rId4" Type="http://schemas.openxmlformats.org/officeDocument/2006/relationships/oleObject" Target="../embeddings/oleObject3.bin" /><Relationship Id="rId9" Type="http://schemas.openxmlformats.org/officeDocument/2006/relationships/image" Target="../media/image32.png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 /><Relationship Id="rId7" Type="http://schemas.openxmlformats.org/officeDocument/2006/relationships/image" Target="../media/image27.jpg" /><Relationship Id="rId2" Type="http://schemas.openxmlformats.org/officeDocument/2006/relationships/slideLayout" Target="../slideLayouts/slideLayout7.xml" /><Relationship Id="rId1" Type="http://schemas.openxmlformats.org/officeDocument/2006/relationships/tags" Target="../tags/tag4.xml" /><Relationship Id="rId6" Type="http://schemas.openxmlformats.org/officeDocument/2006/relationships/image" Target="../media/image5.png" /><Relationship Id="rId5" Type="http://schemas.openxmlformats.org/officeDocument/2006/relationships/image" Target="../media/image4.emf" /><Relationship Id="rId4" Type="http://schemas.openxmlformats.org/officeDocument/2006/relationships/oleObject" Target="../embeddings/oleObject4.bin" 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 /><Relationship Id="rId3" Type="http://schemas.openxmlformats.org/officeDocument/2006/relationships/notesSlide" Target="../notesSlides/notesSlide5.xml" /><Relationship Id="rId7" Type="http://schemas.openxmlformats.org/officeDocument/2006/relationships/image" Target="../media/image27.jpg" /><Relationship Id="rId2" Type="http://schemas.openxmlformats.org/officeDocument/2006/relationships/slideLayout" Target="../slideLayouts/slideLayout7.xml" /><Relationship Id="rId1" Type="http://schemas.openxmlformats.org/officeDocument/2006/relationships/tags" Target="../tags/tag5.xml" /><Relationship Id="rId6" Type="http://schemas.openxmlformats.org/officeDocument/2006/relationships/image" Target="../media/image5.png" /><Relationship Id="rId11" Type="http://schemas.openxmlformats.org/officeDocument/2006/relationships/image" Target="../media/image39.png" /><Relationship Id="rId5" Type="http://schemas.openxmlformats.org/officeDocument/2006/relationships/image" Target="../media/image4.emf" /><Relationship Id="rId10" Type="http://schemas.openxmlformats.org/officeDocument/2006/relationships/image" Target="../media/image38.png" /><Relationship Id="rId4" Type="http://schemas.openxmlformats.org/officeDocument/2006/relationships/oleObject" Target="../embeddings/oleObject4.bin" /><Relationship Id="rId9" Type="http://schemas.openxmlformats.org/officeDocument/2006/relationships/image" Target="../media/image37.png" 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 /><Relationship Id="rId3" Type="http://schemas.openxmlformats.org/officeDocument/2006/relationships/notesSlide" Target="../notesSlides/notesSlide6.xml" /><Relationship Id="rId7" Type="http://schemas.openxmlformats.org/officeDocument/2006/relationships/image" Target="../media/image27.jpg" /><Relationship Id="rId12" Type="http://schemas.openxmlformats.org/officeDocument/2006/relationships/image" Target="../media/image44.png" /><Relationship Id="rId2" Type="http://schemas.openxmlformats.org/officeDocument/2006/relationships/slideLayout" Target="../slideLayouts/slideLayout7.xml" /><Relationship Id="rId1" Type="http://schemas.openxmlformats.org/officeDocument/2006/relationships/tags" Target="../tags/tag6.xml" /><Relationship Id="rId6" Type="http://schemas.openxmlformats.org/officeDocument/2006/relationships/image" Target="../media/image5.png" /><Relationship Id="rId11" Type="http://schemas.openxmlformats.org/officeDocument/2006/relationships/image" Target="../media/image43.png" /><Relationship Id="rId5" Type="http://schemas.openxmlformats.org/officeDocument/2006/relationships/image" Target="../media/image4.emf" /><Relationship Id="rId10" Type="http://schemas.openxmlformats.org/officeDocument/2006/relationships/image" Target="../media/image42.png" /><Relationship Id="rId4" Type="http://schemas.openxmlformats.org/officeDocument/2006/relationships/oleObject" Target="../embeddings/oleObject4.bin" /><Relationship Id="rId9" Type="http://schemas.openxmlformats.org/officeDocument/2006/relationships/image" Target="../media/image41.png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 /><Relationship Id="rId7" Type="http://schemas.openxmlformats.org/officeDocument/2006/relationships/image" Target="../media/image27.jpg" /><Relationship Id="rId2" Type="http://schemas.openxmlformats.org/officeDocument/2006/relationships/slideLayout" Target="../slideLayouts/slideLayout7.xml" /><Relationship Id="rId1" Type="http://schemas.openxmlformats.org/officeDocument/2006/relationships/tags" Target="../tags/tag7.xml" /><Relationship Id="rId6" Type="http://schemas.openxmlformats.org/officeDocument/2006/relationships/image" Target="../media/image5.png" /><Relationship Id="rId5" Type="http://schemas.openxmlformats.org/officeDocument/2006/relationships/image" Target="../media/image4.emf" /><Relationship Id="rId4" Type="http://schemas.openxmlformats.org/officeDocument/2006/relationships/oleObject" Target="../embeddings/oleObject4.bin" 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 /><Relationship Id="rId3" Type="http://schemas.openxmlformats.org/officeDocument/2006/relationships/notesSlide" Target="../notesSlides/notesSlide8.xml" /><Relationship Id="rId7" Type="http://schemas.openxmlformats.org/officeDocument/2006/relationships/image" Target="../media/image27.jpg" /><Relationship Id="rId12" Type="http://schemas.microsoft.com/office/2007/relationships/diagramDrawing" Target="../diagrams/drawing1.xml" /><Relationship Id="rId2" Type="http://schemas.openxmlformats.org/officeDocument/2006/relationships/slideLayout" Target="../slideLayouts/slideLayout7.xml" /><Relationship Id="rId1" Type="http://schemas.openxmlformats.org/officeDocument/2006/relationships/tags" Target="../tags/tag8.xml" /><Relationship Id="rId6" Type="http://schemas.openxmlformats.org/officeDocument/2006/relationships/image" Target="../media/image5.png" /><Relationship Id="rId11" Type="http://schemas.openxmlformats.org/officeDocument/2006/relationships/diagramColors" Target="../diagrams/colors1.xml" /><Relationship Id="rId5" Type="http://schemas.openxmlformats.org/officeDocument/2006/relationships/image" Target="../media/image4.emf" /><Relationship Id="rId10" Type="http://schemas.openxmlformats.org/officeDocument/2006/relationships/diagramQuickStyle" Target="../diagrams/quickStyle1.xml" /><Relationship Id="rId4" Type="http://schemas.openxmlformats.org/officeDocument/2006/relationships/oleObject" Target="../embeddings/oleObject4.bin" /><Relationship Id="rId9" Type="http://schemas.openxmlformats.org/officeDocument/2006/relationships/diagramLayout" Target="../diagrams/layout1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968240" y="1661076"/>
            <a:ext cx="7022200" cy="132343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20" tIns="45720" rIns="45720" bIns="45720" numCol="1" spcCol="3810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>
                <a:ln>
                  <a:noFill/>
                </a:ln>
                <a:solidFill>
                  <a:srgbClr val="162549"/>
                </a:solidFill>
                <a:effectLst/>
                <a:uLnTx/>
                <a:uFillTx/>
                <a:latin typeface="Calibri"/>
                <a:cs typeface="Calibri"/>
              </a:rPr>
              <a:t>ASSOCIAÇÃO BRASILEIRA DE BIOINOVAÇÃO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257EE87-16BD-4FCD-9B59-D63C2EE0383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53" t="17435" r="6507" b="24356"/>
          <a:stretch/>
        </p:blipFill>
        <p:spPr>
          <a:xfrm>
            <a:off x="0" y="-1"/>
            <a:ext cx="7187466" cy="6858001"/>
          </a:xfrm>
          <a:prstGeom prst="rect">
            <a:avLst/>
          </a:prstGeom>
        </p:spPr>
      </p:pic>
      <p:sp>
        <p:nvSpPr>
          <p:cNvPr id="7" name="TextBox 3">
            <a:extLst>
              <a:ext uri="{FF2B5EF4-FFF2-40B4-BE49-F238E27FC236}">
                <a16:creationId xmlns:a16="http://schemas.microsoft.com/office/drawing/2014/main" id="{172CE8D4-01DE-4C84-A771-ED0046735AAE}"/>
              </a:ext>
            </a:extLst>
          </p:cNvPr>
          <p:cNvSpPr txBox="1"/>
          <p:nvPr/>
        </p:nvSpPr>
        <p:spPr>
          <a:xfrm>
            <a:off x="11805712" y="5484949"/>
            <a:ext cx="184728" cy="430885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162549"/>
              </a:solidFill>
              <a:effectLst/>
              <a:uLnTx/>
              <a:uFillTx/>
              <a:latin typeface="Bariol Bold" panose="02000506040000020003" pitchFamily="2" charset="0"/>
              <a:cs typeface="Calibri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F8CF0AB1-0A69-B7FA-4040-6EACCE9F4386}"/>
              </a:ext>
            </a:extLst>
          </p:cNvPr>
          <p:cNvSpPr/>
          <p:nvPr/>
        </p:nvSpPr>
        <p:spPr>
          <a:xfrm>
            <a:off x="5901128" y="4430148"/>
            <a:ext cx="577327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Audiência Pública Senado Federal </a:t>
            </a:r>
          </a:p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/>
            </a:pPr>
            <a:r>
              <a:rPr lang="pt-PT" sz="2200" b="1" dirty="0">
                <a:solidFill>
                  <a:srgbClr val="002060"/>
                </a:solidFill>
                <a:latin typeface="Calibri"/>
                <a:cs typeface="Helvetica"/>
              </a:rPr>
              <a:t>Programa de Aceleração da Transição Energética (Paten)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31749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A8581AA7-E0BB-9F86-8AC8-4FA732770335}"/>
              </a:ext>
            </a:extLst>
          </p:cNvPr>
          <p:cNvSpPr/>
          <p:nvPr/>
        </p:nvSpPr>
        <p:spPr>
          <a:xfrm>
            <a:off x="0" y="6441304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3">
            <a:extLst>
              <a:ext uri="{FF2B5EF4-FFF2-40B4-BE49-F238E27FC236}">
                <a16:creationId xmlns:a16="http://schemas.microsoft.com/office/drawing/2014/main" id="{AD859178-68D6-5203-0A71-0C3142406F42}"/>
              </a:ext>
            </a:extLst>
          </p:cNvPr>
          <p:cNvSpPr txBox="1"/>
          <p:nvPr/>
        </p:nvSpPr>
        <p:spPr>
          <a:xfrm>
            <a:off x="8271206" y="5095452"/>
            <a:ext cx="2774157" cy="78483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20" tIns="45720" rIns="45720" bIns="45720" numCol="1" spcCol="38100" rtlCol="0" anchor="t">
            <a:spAutoFit/>
          </a:bodyPr>
          <a:lstStyle/>
          <a:p>
            <a:pPr algn="ctr" defTabSz="457200" hangingPunct="0">
              <a:lnSpc>
                <a:spcPct val="90000"/>
              </a:lnSpc>
              <a:defRPr/>
            </a:pPr>
            <a:r>
              <a:rPr lang="en-US" sz="5000" b="1" kern="0" err="1">
                <a:solidFill>
                  <a:srgbClr val="18264C"/>
                </a:solidFill>
                <a:latin typeface="Calibri"/>
                <a:cs typeface="Calibri"/>
                <a:sym typeface="Calibri"/>
              </a:rPr>
              <a:t>Obrigado</a:t>
            </a:r>
            <a:r>
              <a:rPr lang="en-US" sz="5000" b="1" kern="0">
                <a:solidFill>
                  <a:srgbClr val="18264C"/>
                </a:solidFill>
                <a:latin typeface="Calibri"/>
                <a:cs typeface="Calibri"/>
                <a:sym typeface="Calibri"/>
              </a:rPr>
              <a:t>!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B1AB93A-E208-C344-F449-B10FCDD9FF5C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549" y="1565593"/>
            <a:ext cx="5373211" cy="24793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3768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pt-BR" sz="800"/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sp>
        <p:nvSpPr>
          <p:cNvPr id="66" name="Título 1">
            <a:extLst>
              <a:ext uri="{FF2B5EF4-FFF2-40B4-BE49-F238E27FC236}">
                <a16:creationId xmlns:a16="http://schemas.microsoft.com/office/drawing/2014/main" id="{9433D19F-C7C6-4B21-9A9C-290E4FE66C2D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100" cap="all">
                <a:solidFill>
                  <a:schemeClr val="bg1"/>
                </a:solidFill>
                <a:latin typeface="Bariol Bold" panose="02000506040000020003" pitchFamily="2" charset="0"/>
              </a:rPr>
              <a:t>Associadas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00" b="0" i="0" u="none" strike="noStrike" kern="0" cap="none" spc="0" normalizeH="0" baseline="0" noProof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LÍDERES GLOBAIS DA BIOECONOMIA AVANÇADA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cs typeface="Helvetica"/>
            </a:endParaRPr>
          </a:p>
        </p:txBody>
      </p:sp>
      <p:pic>
        <p:nvPicPr>
          <p:cNvPr id="4" name="Imagem 10">
            <a:extLst>
              <a:ext uri="{FF2B5EF4-FFF2-40B4-BE49-F238E27FC236}">
                <a16:creationId xmlns:a16="http://schemas.microsoft.com/office/drawing/2014/main" id="{3DFE227F-5639-80C0-4BED-D2223ADD81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667" b="32000"/>
          <a:stretch/>
        </p:blipFill>
        <p:spPr>
          <a:xfrm>
            <a:off x="7556309" y="2961048"/>
            <a:ext cx="663935" cy="568740"/>
          </a:xfrm>
          <a:prstGeom prst="rect">
            <a:avLst/>
          </a:prstGeom>
        </p:spPr>
      </p:pic>
      <p:pic>
        <p:nvPicPr>
          <p:cNvPr id="7" name="Imagem 9">
            <a:extLst>
              <a:ext uri="{FF2B5EF4-FFF2-40B4-BE49-F238E27FC236}">
                <a16:creationId xmlns:a16="http://schemas.microsoft.com/office/drawing/2014/main" id="{140E09E2-5923-6475-76B1-505CB181D9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478" y="1848309"/>
            <a:ext cx="1500524" cy="468164"/>
          </a:xfrm>
          <a:prstGeom prst="rect">
            <a:avLst/>
          </a:prstGeom>
        </p:spPr>
      </p:pic>
      <p:pic>
        <p:nvPicPr>
          <p:cNvPr id="8" name="Imagem 11">
            <a:extLst>
              <a:ext uri="{FF2B5EF4-FFF2-40B4-BE49-F238E27FC236}">
                <a16:creationId xmlns:a16="http://schemas.microsoft.com/office/drawing/2014/main" id="{5F6EC841-FB51-B6AB-CCA8-7F8A530AB61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4337" r="-6564" b="30970"/>
          <a:stretch/>
        </p:blipFill>
        <p:spPr>
          <a:xfrm>
            <a:off x="5867737" y="1790901"/>
            <a:ext cx="1790702" cy="582980"/>
          </a:xfrm>
          <a:prstGeom prst="rect">
            <a:avLst/>
          </a:prstGeom>
        </p:spPr>
      </p:pic>
      <p:pic>
        <p:nvPicPr>
          <p:cNvPr id="9" name="Imagem 12">
            <a:extLst>
              <a:ext uri="{FF2B5EF4-FFF2-40B4-BE49-F238E27FC236}">
                <a16:creationId xmlns:a16="http://schemas.microsoft.com/office/drawing/2014/main" id="{CCA76285-124D-E9BD-2E28-37FD97DA00D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-2424" t="27108" r="4848" b="28620"/>
          <a:stretch/>
        </p:blipFill>
        <p:spPr>
          <a:xfrm>
            <a:off x="4963874" y="4004396"/>
            <a:ext cx="1562583" cy="708966"/>
          </a:xfrm>
          <a:prstGeom prst="rect">
            <a:avLst/>
          </a:prstGeom>
        </p:spPr>
      </p:pic>
      <p:pic>
        <p:nvPicPr>
          <p:cNvPr id="12" name="Imagem 8">
            <a:extLst>
              <a:ext uri="{FF2B5EF4-FFF2-40B4-BE49-F238E27FC236}">
                <a16:creationId xmlns:a16="http://schemas.microsoft.com/office/drawing/2014/main" id="{A6C7B4F2-ED60-C9A7-7A92-EA02F8ED412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45742" y="5665744"/>
            <a:ext cx="871318" cy="452505"/>
          </a:xfrm>
          <a:prstGeom prst="rect">
            <a:avLst/>
          </a:prstGeom>
        </p:spPr>
      </p:pic>
      <p:pic>
        <p:nvPicPr>
          <p:cNvPr id="13" name="Imagem 12" descr="Logotipo&#10;&#10;Descrição gerada automaticamente">
            <a:extLst>
              <a:ext uri="{FF2B5EF4-FFF2-40B4-BE49-F238E27FC236}">
                <a16:creationId xmlns:a16="http://schemas.microsoft.com/office/drawing/2014/main" id="{316B177E-2A2F-68D7-E360-C6CD03DF0A22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219" b="33940"/>
          <a:stretch/>
        </p:blipFill>
        <p:spPr>
          <a:xfrm>
            <a:off x="2986677" y="5692477"/>
            <a:ext cx="1218412" cy="401321"/>
          </a:xfrm>
          <a:prstGeom prst="rect">
            <a:avLst/>
          </a:prstGeom>
        </p:spPr>
      </p:pic>
      <p:pic>
        <p:nvPicPr>
          <p:cNvPr id="14" name="Imagem 13" descr="Uma imagem contendo Diagrama&#10;&#10;Descrição gerada automaticamente">
            <a:extLst>
              <a:ext uri="{FF2B5EF4-FFF2-40B4-BE49-F238E27FC236}">
                <a16:creationId xmlns:a16="http://schemas.microsoft.com/office/drawing/2014/main" id="{5454B49C-737E-6EC6-B99B-7F72CF47E6EE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3" t="28086" r="6317" b="27441"/>
          <a:stretch/>
        </p:blipFill>
        <p:spPr>
          <a:xfrm>
            <a:off x="4403633" y="5613121"/>
            <a:ext cx="927652" cy="548260"/>
          </a:xfrm>
          <a:prstGeom prst="rect">
            <a:avLst/>
          </a:prstGeom>
        </p:spPr>
      </p:pic>
      <p:pic>
        <p:nvPicPr>
          <p:cNvPr id="15" name="Imagem 14" descr="Logotipo&#10;&#10;Descrição gerada automaticamente">
            <a:extLst>
              <a:ext uri="{FF2B5EF4-FFF2-40B4-BE49-F238E27FC236}">
                <a16:creationId xmlns:a16="http://schemas.microsoft.com/office/drawing/2014/main" id="{805390C3-E41F-DC98-18B8-5C9CF6F1C234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303" b="29382"/>
          <a:stretch/>
        </p:blipFill>
        <p:spPr>
          <a:xfrm>
            <a:off x="6793581" y="5699311"/>
            <a:ext cx="1083835" cy="458372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A96FC748-B378-5025-821F-9AA8B668FFA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831590" y="1835328"/>
            <a:ext cx="1647000" cy="526220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D12D8F11-ECF3-7109-C88C-562B4F196B9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029612" y="1758488"/>
            <a:ext cx="1269108" cy="647807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1586F719-98FB-F704-5967-A2B4B05272A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153332" y="4071757"/>
            <a:ext cx="1441569" cy="553000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7771CEE7-818B-AF94-12EF-AF22B68D46D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971796" y="1684042"/>
            <a:ext cx="1324160" cy="828791"/>
          </a:xfrm>
          <a:prstGeom prst="rect">
            <a:avLst/>
          </a:prstGeom>
        </p:spPr>
      </p:pic>
      <p:pic>
        <p:nvPicPr>
          <p:cNvPr id="21" name="Imagem 20" descr="Ícone&#10;&#10;Descrição gerada automaticamente">
            <a:extLst>
              <a:ext uri="{FF2B5EF4-FFF2-40B4-BE49-F238E27FC236}">
                <a16:creationId xmlns:a16="http://schemas.microsoft.com/office/drawing/2014/main" id="{2818B2C8-B0D3-6AB8-C3D2-48745F81C70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7758" y="2941433"/>
            <a:ext cx="1339730" cy="531683"/>
          </a:xfrm>
          <a:prstGeom prst="rect">
            <a:avLst/>
          </a:prstGeom>
        </p:spPr>
      </p:pic>
      <p:pic>
        <p:nvPicPr>
          <p:cNvPr id="22" name="Imagem 21" descr="Desenho com traços pretos em fundo branco&#10;&#10;Descrição gerada automaticamente com confiança baixa">
            <a:extLst>
              <a:ext uri="{FF2B5EF4-FFF2-40B4-BE49-F238E27FC236}">
                <a16:creationId xmlns:a16="http://schemas.microsoft.com/office/drawing/2014/main" id="{AA7ABCD7-8557-C732-35FA-E92FB3E3087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5512" y="3767181"/>
            <a:ext cx="1104449" cy="1104449"/>
          </a:xfrm>
          <a:prstGeom prst="rect">
            <a:avLst/>
          </a:prstGeom>
        </p:spPr>
      </p:pic>
      <p:pic>
        <p:nvPicPr>
          <p:cNvPr id="23" name="Imagem 22" descr="Logotipo&#10;&#10;Descrição gerada automaticamente">
            <a:extLst>
              <a:ext uri="{FF2B5EF4-FFF2-40B4-BE49-F238E27FC236}">
                <a16:creationId xmlns:a16="http://schemas.microsoft.com/office/drawing/2014/main" id="{BF435F49-C145-1CB6-EAFC-6BFEAE4118E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930" y="2950450"/>
            <a:ext cx="1568578" cy="540347"/>
          </a:xfrm>
          <a:prstGeom prst="rect">
            <a:avLst/>
          </a:prstGeom>
        </p:spPr>
      </p:pic>
      <p:pic>
        <p:nvPicPr>
          <p:cNvPr id="24" name="Imagem 23" descr="Logotipo&#10;&#10;Descrição gerada automaticamente">
            <a:extLst>
              <a:ext uri="{FF2B5EF4-FFF2-40B4-BE49-F238E27FC236}">
                <a16:creationId xmlns:a16="http://schemas.microsoft.com/office/drawing/2014/main" id="{0C47C040-323C-C97F-31E1-4654313AA2E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898" y="3764520"/>
            <a:ext cx="1973269" cy="1109964"/>
          </a:xfrm>
          <a:prstGeom prst="rect">
            <a:avLst/>
          </a:prstGeom>
        </p:spPr>
      </p:pic>
      <p:pic>
        <p:nvPicPr>
          <p:cNvPr id="25" name="Imagem 24" descr="Logotipo&#10;&#10;Descrição gerada automaticamente">
            <a:extLst>
              <a:ext uri="{FF2B5EF4-FFF2-40B4-BE49-F238E27FC236}">
                <a16:creationId xmlns:a16="http://schemas.microsoft.com/office/drawing/2014/main" id="{10C6F9FF-28AA-6921-F316-4650215415B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2868" y="1947501"/>
            <a:ext cx="1571147" cy="350360"/>
          </a:xfrm>
          <a:prstGeom prst="rect">
            <a:avLst/>
          </a:prstGeom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A5227092-2215-6D30-1415-81C486B091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275" y="3122474"/>
            <a:ext cx="2152230" cy="195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Imagem 30">
            <a:extLst>
              <a:ext uri="{FF2B5EF4-FFF2-40B4-BE49-F238E27FC236}">
                <a16:creationId xmlns:a16="http://schemas.microsoft.com/office/drawing/2014/main" id="{AD35B038-822F-CEE2-F6DC-58EC8A0B6524}"/>
              </a:ext>
            </a:extLst>
          </p:cNvPr>
          <p:cNvPicPr>
            <a:picLocks noChangeAspect="1"/>
          </p:cNvPicPr>
          <p:nvPr/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923" y="5455023"/>
            <a:ext cx="775862" cy="714157"/>
          </a:xfrm>
          <a:prstGeom prst="rect">
            <a:avLst/>
          </a:prstGeom>
        </p:spPr>
      </p:pic>
      <p:pic>
        <p:nvPicPr>
          <p:cNvPr id="33" name="Imagem 32" descr="Uma imagem com Tipo de letra, logótipo, Gráficos, branco&#10;&#10;Descrição gerada automaticamente">
            <a:extLst>
              <a:ext uri="{FF2B5EF4-FFF2-40B4-BE49-F238E27FC236}">
                <a16:creationId xmlns:a16="http://schemas.microsoft.com/office/drawing/2014/main" id="{20F53FD1-ADD6-2567-2619-D61E2CAA6F5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9807" y="2754385"/>
            <a:ext cx="1947057" cy="972285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3B4FFE74-DF05-6D62-36D2-F44277E3C562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512299" y="3935173"/>
            <a:ext cx="1343025" cy="942975"/>
          </a:xfrm>
          <a:prstGeom prst="rect">
            <a:avLst/>
          </a:prstGeom>
        </p:spPr>
      </p:pic>
      <p:pic>
        <p:nvPicPr>
          <p:cNvPr id="17" name="Imagem 16" descr="Uma imagem com texto, Tipo de letra, logótipo, Gráficos&#10;&#10;Descrição gerada automaticamente">
            <a:extLst>
              <a:ext uri="{FF2B5EF4-FFF2-40B4-BE49-F238E27FC236}">
                <a16:creationId xmlns:a16="http://schemas.microsoft.com/office/drawing/2014/main" id="{B7EE8226-064C-FE2D-4A1E-F5E630A1BC68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760" y="0"/>
            <a:ext cx="1693240" cy="82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98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B195AACC-A2CB-465E-81F7-B314A459C0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56762" y="187274"/>
            <a:ext cx="1449190" cy="507301"/>
          </a:xfrm>
          <a:prstGeom prst="rect">
            <a:avLst/>
          </a:prstGeom>
        </p:spPr>
      </p:pic>
      <p:sp>
        <p:nvSpPr>
          <p:cNvPr id="66" name="Título 1">
            <a:extLst>
              <a:ext uri="{FF2B5EF4-FFF2-40B4-BE49-F238E27FC236}">
                <a16:creationId xmlns:a16="http://schemas.microsoft.com/office/drawing/2014/main" id="{9433D19F-C7C6-4B21-9A9C-290E4FE66C2D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Innovation</a:t>
            </a:r>
            <a:endParaRPr kumimoji="0" lang="pt-BR" sz="41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0" cap="all" spc="0" normalizeH="0" baseline="0" noProof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Global leaders in innovation</a:t>
            </a:r>
            <a:endParaRPr kumimoji="0" lang="en-US" sz="28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pic>
        <p:nvPicPr>
          <p:cNvPr id="26" name="Imagem 25">
            <a:extLst>
              <a:ext uri="{FF2B5EF4-FFF2-40B4-BE49-F238E27FC236}">
                <a16:creationId xmlns:a16="http://schemas.microsoft.com/office/drawing/2014/main" id="{148B161D-6379-13FC-FB89-D77214281C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7710" y="1279427"/>
            <a:ext cx="3319980" cy="4665718"/>
          </a:xfrm>
          <a:prstGeom prst="rect">
            <a:avLst/>
          </a:prstGeom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id="{4828EEB9-980D-31E1-B3D3-DB371DD304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26944" y="1561990"/>
            <a:ext cx="4931535" cy="3652988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1C0A6B5C-6008-80B7-B82B-FD0B3958A0A4}"/>
              </a:ext>
            </a:extLst>
          </p:cNvPr>
          <p:cNvGrpSpPr/>
          <p:nvPr/>
        </p:nvGrpSpPr>
        <p:grpSpPr>
          <a:xfrm>
            <a:off x="8814075" y="1257922"/>
            <a:ext cx="2806020" cy="4617856"/>
            <a:chOff x="213031" y="187274"/>
            <a:chExt cx="3872164" cy="7594337"/>
          </a:xfrm>
        </p:grpSpPr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1D1FFA2D-4850-40C1-9848-AADB67AD0E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8795" y="187274"/>
              <a:ext cx="3866400" cy="4024011"/>
            </a:xfrm>
            <a:prstGeom prst="rect">
              <a:avLst/>
            </a:prstGeom>
          </p:spPr>
        </p:pic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604DD630-9800-44C0-E9DC-C495847C94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13031" y="4189639"/>
              <a:ext cx="3867144" cy="3591972"/>
            </a:xfrm>
            <a:prstGeom prst="rect">
              <a:avLst/>
            </a:prstGeom>
          </p:spPr>
        </p:pic>
      </p:grp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D0919289-688A-6E23-1B66-B18D759F93C2}"/>
              </a:ext>
            </a:extLst>
          </p:cNvPr>
          <p:cNvSpPr txBox="1"/>
          <p:nvPr/>
        </p:nvSpPr>
        <p:spPr>
          <a:xfrm>
            <a:off x="7741920" y="6484426"/>
            <a:ext cx="4175760" cy="36933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Helvetica"/>
              </a:rPr>
              <a:t>WIPO, 2023</a:t>
            </a: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Helvetica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A6BFA72-4509-9FA5-96E1-CC2D59FA963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76757" y="5985600"/>
            <a:ext cx="3205776" cy="363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963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77" name="Gráfico 76">
            <a:extLst>
              <a:ext uri="{FF2B5EF4-FFF2-40B4-BE49-F238E27FC236}">
                <a16:creationId xmlns:a16="http://schemas.microsoft.com/office/drawing/2014/main" id="{B195AACC-A2CB-465E-81F7-B314A459C0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56762" y="187274"/>
            <a:ext cx="1449190" cy="507301"/>
          </a:xfrm>
          <a:prstGeom prst="rect">
            <a:avLst/>
          </a:prstGeom>
        </p:spPr>
      </p:pic>
      <p:sp>
        <p:nvSpPr>
          <p:cNvPr id="66" name="Título 1">
            <a:extLst>
              <a:ext uri="{FF2B5EF4-FFF2-40B4-BE49-F238E27FC236}">
                <a16:creationId xmlns:a16="http://schemas.microsoft.com/office/drawing/2014/main" id="{9433D19F-C7C6-4B21-9A9C-290E4FE66C2D}"/>
              </a:ext>
            </a:extLst>
          </p:cNvPr>
          <p:cNvSpPr txBox="1">
            <a:spLocks/>
          </p:cNvSpPr>
          <p:nvPr/>
        </p:nvSpPr>
        <p:spPr>
          <a:xfrm>
            <a:off x="105555" y="154673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BIOECONOMY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0" cap="none" spc="0" normalizeH="0" baseline="0" noProof="0">
              <a:ln>
                <a:noFill/>
              </a:ln>
              <a:solidFill>
                <a:srgbClr val="FBAF3F"/>
              </a:solidFill>
              <a:effectLst/>
              <a:uLnTx/>
              <a:uFillTx/>
              <a:latin typeface="Bariol Bold" panose="02000506040000020003" pitchFamily="2" charset="0"/>
              <a:ea typeface="+mn-ea"/>
              <a:cs typeface="Calibri"/>
              <a:sym typeface="Calibri"/>
            </a:endParaRP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0" cap="all" spc="0" normalizeH="0" baseline="0" noProof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biodiversity-rich countries and innovation</a:t>
            </a:r>
            <a:endParaRPr kumimoji="0" lang="en-US" sz="28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B31F6B41-624C-1DD8-DD6E-3E3D511AF329}"/>
              </a:ext>
            </a:extLst>
          </p:cNvPr>
          <p:cNvGrpSpPr/>
          <p:nvPr/>
        </p:nvGrpSpPr>
        <p:grpSpPr>
          <a:xfrm>
            <a:off x="8776757" y="1285313"/>
            <a:ext cx="2957378" cy="4617856"/>
            <a:chOff x="8857613" y="683882"/>
            <a:chExt cx="2957378" cy="4617856"/>
          </a:xfrm>
        </p:grpSpPr>
        <p:grpSp>
          <p:nvGrpSpPr>
            <p:cNvPr id="13" name="Agrupar 12">
              <a:extLst>
                <a:ext uri="{FF2B5EF4-FFF2-40B4-BE49-F238E27FC236}">
                  <a16:creationId xmlns:a16="http://schemas.microsoft.com/office/drawing/2014/main" id="{C3299102-9F48-B4B1-67CC-98A1DE55307B}"/>
                </a:ext>
              </a:extLst>
            </p:cNvPr>
            <p:cNvGrpSpPr/>
            <p:nvPr/>
          </p:nvGrpSpPr>
          <p:grpSpPr>
            <a:xfrm>
              <a:off x="8976635" y="683882"/>
              <a:ext cx="2806020" cy="4617856"/>
              <a:chOff x="213031" y="187274"/>
              <a:chExt cx="3872164" cy="7594337"/>
            </a:xfrm>
          </p:grpSpPr>
          <p:pic>
            <p:nvPicPr>
              <p:cNvPr id="21" name="Imagem 20">
                <a:extLst>
                  <a:ext uri="{FF2B5EF4-FFF2-40B4-BE49-F238E27FC236}">
                    <a16:creationId xmlns:a16="http://schemas.microsoft.com/office/drawing/2014/main" id="{589A437F-98DF-7113-790E-AFDABE99C5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18795" y="187274"/>
                <a:ext cx="3866400" cy="4024011"/>
              </a:xfrm>
              <a:prstGeom prst="rect">
                <a:avLst/>
              </a:prstGeom>
            </p:spPr>
          </p:pic>
          <p:pic>
            <p:nvPicPr>
              <p:cNvPr id="22" name="Imagem 21">
                <a:extLst>
                  <a:ext uri="{FF2B5EF4-FFF2-40B4-BE49-F238E27FC236}">
                    <a16:creationId xmlns:a16="http://schemas.microsoft.com/office/drawing/2014/main" id="{830DBDF7-8DCA-BD6C-7E9B-53435CBB05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13031" y="4189639"/>
                <a:ext cx="3867144" cy="3591972"/>
              </a:xfrm>
              <a:prstGeom prst="rect">
                <a:avLst/>
              </a:prstGeom>
            </p:spPr>
          </p:pic>
        </p:grpSp>
        <p:sp>
          <p:nvSpPr>
            <p:cNvPr id="14" name="Seta: para a Direita 13">
              <a:extLst>
                <a:ext uri="{FF2B5EF4-FFF2-40B4-BE49-F238E27FC236}">
                  <a16:creationId xmlns:a16="http://schemas.microsoft.com/office/drawing/2014/main" id="{B07445DB-D7B3-4D6F-D56F-DB2C925941B7}"/>
                </a:ext>
              </a:extLst>
            </p:cNvPr>
            <p:cNvSpPr/>
            <p:nvPr/>
          </p:nvSpPr>
          <p:spPr>
            <a:xfrm>
              <a:off x="8857613" y="1115565"/>
              <a:ext cx="234959" cy="90936"/>
            </a:xfrm>
            <a:prstGeom prst="rightArrow">
              <a:avLst/>
            </a:prstGeom>
            <a:solidFill>
              <a:srgbClr val="002060"/>
            </a:solidFill>
            <a:ln w="508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Seta: para a Direita 14">
              <a:extLst>
                <a:ext uri="{FF2B5EF4-FFF2-40B4-BE49-F238E27FC236}">
                  <a16:creationId xmlns:a16="http://schemas.microsoft.com/office/drawing/2014/main" id="{3D2333BA-45A7-8CBD-06CA-39D17C7CCB7D}"/>
                </a:ext>
              </a:extLst>
            </p:cNvPr>
            <p:cNvSpPr/>
            <p:nvPr/>
          </p:nvSpPr>
          <p:spPr>
            <a:xfrm>
              <a:off x="8857613" y="5131647"/>
              <a:ext cx="234959" cy="90936"/>
            </a:xfrm>
            <a:prstGeom prst="rightArrow">
              <a:avLst/>
            </a:prstGeom>
            <a:solidFill>
              <a:srgbClr val="002060"/>
            </a:solidFill>
            <a:ln w="508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Seta: para a Direita 15">
              <a:extLst>
                <a:ext uri="{FF2B5EF4-FFF2-40B4-BE49-F238E27FC236}">
                  <a16:creationId xmlns:a16="http://schemas.microsoft.com/office/drawing/2014/main" id="{BEC05065-25A5-030E-D7EB-BAEED79BBDF7}"/>
                </a:ext>
              </a:extLst>
            </p:cNvPr>
            <p:cNvSpPr/>
            <p:nvPr/>
          </p:nvSpPr>
          <p:spPr>
            <a:xfrm>
              <a:off x="8857613" y="4346787"/>
              <a:ext cx="234959" cy="90936"/>
            </a:xfrm>
            <a:prstGeom prst="rightArrow">
              <a:avLst/>
            </a:prstGeom>
            <a:solidFill>
              <a:srgbClr val="002060"/>
            </a:solidFill>
            <a:ln w="508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Seta: para a Direita 16">
              <a:extLst>
                <a:ext uri="{FF2B5EF4-FFF2-40B4-BE49-F238E27FC236}">
                  <a16:creationId xmlns:a16="http://schemas.microsoft.com/office/drawing/2014/main" id="{76ED705F-9E2D-3182-3780-1BB96C8199F3}"/>
                </a:ext>
              </a:extLst>
            </p:cNvPr>
            <p:cNvSpPr/>
            <p:nvPr/>
          </p:nvSpPr>
          <p:spPr>
            <a:xfrm>
              <a:off x="8857613" y="3998044"/>
              <a:ext cx="234959" cy="90936"/>
            </a:xfrm>
            <a:prstGeom prst="rightArrow">
              <a:avLst/>
            </a:prstGeom>
            <a:solidFill>
              <a:srgbClr val="002060"/>
            </a:solidFill>
            <a:ln w="508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Seta: para a Direita 17">
              <a:extLst>
                <a:ext uri="{FF2B5EF4-FFF2-40B4-BE49-F238E27FC236}">
                  <a16:creationId xmlns:a16="http://schemas.microsoft.com/office/drawing/2014/main" id="{9F4A1D44-0300-F56B-0BFC-5A39BDC3B4DD}"/>
                </a:ext>
              </a:extLst>
            </p:cNvPr>
            <p:cNvSpPr/>
            <p:nvPr/>
          </p:nvSpPr>
          <p:spPr>
            <a:xfrm>
              <a:off x="8857613" y="1900425"/>
              <a:ext cx="234959" cy="90936"/>
            </a:xfrm>
            <a:prstGeom prst="rightArrow">
              <a:avLst/>
            </a:prstGeom>
            <a:solidFill>
              <a:srgbClr val="002060"/>
            </a:solidFill>
            <a:ln w="508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Seta: para a Direita 18">
              <a:extLst>
                <a:ext uri="{FF2B5EF4-FFF2-40B4-BE49-F238E27FC236}">
                  <a16:creationId xmlns:a16="http://schemas.microsoft.com/office/drawing/2014/main" id="{3C11B768-DBF0-731F-B77A-19C3E4774154}"/>
                </a:ext>
              </a:extLst>
            </p:cNvPr>
            <p:cNvSpPr/>
            <p:nvPr/>
          </p:nvSpPr>
          <p:spPr>
            <a:xfrm>
              <a:off x="8857613" y="2953706"/>
              <a:ext cx="234959" cy="90936"/>
            </a:xfrm>
            <a:prstGeom prst="rightArrow">
              <a:avLst/>
            </a:prstGeom>
            <a:solidFill>
              <a:srgbClr val="002060"/>
            </a:solidFill>
            <a:ln w="508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20" name="Conector reto 19">
              <a:extLst>
                <a:ext uri="{FF2B5EF4-FFF2-40B4-BE49-F238E27FC236}">
                  <a16:creationId xmlns:a16="http://schemas.microsoft.com/office/drawing/2014/main" id="{9CDCC20C-805A-7A76-6779-B7B4331A384A}"/>
                </a:ext>
              </a:extLst>
            </p:cNvPr>
            <p:cNvCxnSpPr>
              <a:cxnSpLocks/>
            </p:cNvCxnSpPr>
            <p:nvPr/>
          </p:nvCxnSpPr>
          <p:spPr>
            <a:xfrm>
              <a:off x="9114991" y="1817749"/>
              <a:ext cx="2700000" cy="12975"/>
            </a:xfrm>
            <a:prstGeom prst="line">
              <a:avLst/>
            </a:prstGeom>
            <a:noFill/>
            <a:ln w="19050" cap="flat">
              <a:solidFill>
                <a:srgbClr val="FF0000"/>
              </a:solidFill>
              <a:prstDash val="solid"/>
              <a:round/>
            </a:ln>
            <a:effectLst>
              <a:outerShdw blurRad="76200" dist="38100" dir="5400000" rotWithShape="0">
                <a:srgbClr val="000000">
                  <a:alpha val="38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pic>
        <p:nvPicPr>
          <p:cNvPr id="23" name="Imagem 22">
            <a:extLst>
              <a:ext uri="{FF2B5EF4-FFF2-40B4-BE49-F238E27FC236}">
                <a16:creationId xmlns:a16="http://schemas.microsoft.com/office/drawing/2014/main" id="{35398631-EAA5-9764-ECBB-B4BCFCA2C6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76757" y="5985600"/>
            <a:ext cx="3205776" cy="363034"/>
          </a:xfrm>
          <a:prstGeom prst="rect">
            <a:avLst/>
          </a:prstGeom>
        </p:spPr>
      </p:pic>
      <p:grpSp>
        <p:nvGrpSpPr>
          <p:cNvPr id="31" name="Agrupar 30">
            <a:extLst>
              <a:ext uri="{FF2B5EF4-FFF2-40B4-BE49-F238E27FC236}">
                <a16:creationId xmlns:a16="http://schemas.microsoft.com/office/drawing/2014/main" id="{BC700F1E-DF7B-D3B4-52CC-E8E3E2554026}"/>
              </a:ext>
            </a:extLst>
          </p:cNvPr>
          <p:cNvGrpSpPr/>
          <p:nvPr/>
        </p:nvGrpSpPr>
        <p:grpSpPr>
          <a:xfrm>
            <a:off x="886338" y="1351263"/>
            <a:ext cx="6104772" cy="3952690"/>
            <a:chOff x="886338" y="1351263"/>
            <a:chExt cx="6104772" cy="3952690"/>
          </a:xfrm>
        </p:grpSpPr>
        <p:pic>
          <p:nvPicPr>
            <p:cNvPr id="24" name="Picture 2" descr="undefined">
              <a:extLst>
                <a:ext uri="{FF2B5EF4-FFF2-40B4-BE49-F238E27FC236}">
                  <a16:creationId xmlns:a16="http://schemas.microsoft.com/office/drawing/2014/main" id="{E21EE1EE-8FE1-82D9-3FA5-0C8DE11013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6338" y="1720762"/>
              <a:ext cx="6104772" cy="31604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A13FDF65-B770-756A-088B-36CB87D91B2A}"/>
                </a:ext>
              </a:extLst>
            </p:cNvPr>
            <p:cNvSpPr txBox="1"/>
            <p:nvPr/>
          </p:nvSpPr>
          <p:spPr>
            <a:xfrm>
              <a:off x="1474054" y="1351263"/>
              <a:ext cx="5477760" cy="338554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all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cs typeface="Helvetica"/>
                </a:rPr>
                <a:t>Megadiverse Countries</a:t>
              </a:r>
            </a:p>
          </p:txBody>
        </p:sp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id="{CF5DF887-8155-12F5-C325-3909E948A5DE}"/>
                </a:ext>
              </a:extLst>
            </p:cNvPr>
            <p:cNvSpPr txBox="1"/>
            <p:nvPr/>
          </p:nvSpPr>
          <p:spPr>
            <a:xfrm>
              <a:off x="1022975" y="4842288"/>
              <a:ext cx="5911708" cy="461665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17 countries which have been identified as the most biodiversity-rich countries of the world, with a particular focus on endemic biodiversity: United States of America, Mexico, Colombia, </a:t>
              </a: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Ecuador, Peru, Venezuela, </a:t>
              </a:r>
              <a:r>
                <a:rPr kumimoji="0" lang="pt-BR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Brazil</a:t>
              </a: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, </a:t>
              </a:r>
              <a:r>
                <a:rPr kumimoji="0" lang="pt-BR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Democratic</a:t>
              </a: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 </a:t>
              </a:r>
              <a:r>
                <a:rPr kumimoji="0" lang="pt-BR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Republic</a:t>
              </a: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 of Congo, South </a:t>
              </a:r>
              <a:r>
                <a:rPr kumimoji="0" lang="pt-BR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Africa</a:t>
              </a: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, Madagascar, </a:t>
              </a:r>
              <a:r>
                <a:rPr kumimoji="0" lang="pt-BR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India</a:t>
              </a: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, Malaysia, </a:t>
              </a:r>
              <a:r>
                <a:rPr kumimoji="0" lang="pt-BR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Indonesia</a:t>
              </a: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, </a:t>
              </a:r>
              <a:r>
                <a:rPr kumimoji="0" lang="pt-BR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Philippines</a:t>
              </a: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, Papua New </a:t>
              </a:r>
              <a:r>
                <a:rPr kumimoji="0" lang="pt-BR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Guinea</a:t>
              </a: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, China, </a:t>
              </a:r>
              <a:r>
                <a:rPr kumimoji="0" lang="pt-BR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and</a:t>
              </a:r>
              <a:r>
                <a:rPr kumimoji="0" lang="pt-BR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/>
                  <a:cs typeface="Helvetica"/>
                </a:rPr>
                <a:t> Australia.</a:t>
              </a:r>
            </a:p>
          </p:txBody>
        </p:sp>
      </p:grp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C34B5BDF-151D-EAF9-73EA-222C00DCDCAD}"/>
              </a:ext>
            </a:extLst>
          </p:cNvPr>
          <p:cNvSpPr txBox="1"/>
          <p:nvPr/>
        </p:nvSpPr>
        <p:spPr>
          <a:xfrm>
            <a:off x="8549991" y="977179"/>
            <a:ext cx="3493473" cy="33855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Global innovation index 2023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997D6B5E-54CF-FAE5-A7D1-129AC9C473B5}"/>
              </a:ext>
            </a:extLst>
          </p:cNvPr>
          <p:cNvSpPr txBox="1"/>
          <p:nvPr/>
        </p:nvSpPr>
        <p:spPr>
          <a:xfrm>
            <a:off x="493839" y="5663926"/>
            <a:ext cx="7572511" cy="584775"/>
          </a:xfrm>
          <a:prstGeom prst="rect">
            <a:avLst/>
          </a:prstGeom>
          <a:noFill/>
          <a:ln w="25400" cap="flat">
            <a:solidFill>
              <a:srgbClr val="00206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>
            <a:defPPr>
              <a:defRPr lang="pt-BR"/>
            </a:defPPr>
            <a:lvl1pPr algn="just">
              <a:defRPr sz="1200" b="1" i="0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193675" marR="0" lvl="0" indent="-1936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Only six out of the 50 most innovative countries in the world are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megabiodivers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. </a:t>
            </a:r>
          </a:p>
          <a:p>
            <a:pPr marL="193675" marR="0" lvl="0" indent="-1936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Helvetica"/>
              </a:rPr>
              <a:t>Among the top 10 most innovative, only one.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7116183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pt-BR" sz="800"/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17" name="Imagem 16" descr="Uma imagem com texto, Tipo de letra, logótipo, Gráficos&#10;&#10;Descrição gerada automaticamente">
            <a:extLst>
              <a:ext uri="{FF2B5EF4-FFF2-40B4-BE49-F238E27FC236}">
                <a16:creationId xmlns:a16="http://schemas.microsoft.com/office/drawing/2014/main" id="{B7EE8226-064C-FE2D-4A1E-F5E630A1BC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760" y="0"/>
            <a:ext cx="1693240" cy="828215"/>
          </a:xfrm>
          <a:prstGeom prst="rect">
            <a:avLst/>
          </a:prstGeom>
        </p:spPr>
      </p:pic>
      <p:sp>
        <p:nvSpPr>
          <p:cNvPr id="28" name="CaixaDeTexto 27">
            <a:extLst>
              <a:ext uri="{FF2B5EF4-FFF2-40B4-BE49-F238E27FC236}">
                <a16:creationId xmlns:a16="http://schemas.microsoft.com/office/drawing/2014/main" id="{CF752FAF-F5DF-6E3A-B340-E0598EB8EA6E}"/>
              </a:ext>
            </a:extLst>
          </p:cNvPr>
          <p:cNvSpPr txBox="1"/>
          <p:nvPr/>
        </p:nvSpPr>
        <p:spPr>
          <a:xfrm>
            <a:off x="3877674" y="1418788"/>
            <a:ext cx="8235480" cy="483209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R="0" algn="l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 err="1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Art</a:t>
            </a: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. 2º Constituem objetivos do Paten:</a:t>
            </a:r>
          </a:p>
          <a:p>
            <a:pPr marR="0" algn="l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I – fomentar o financiamento de projetos de desenvolvimento sustentável, especialmente aqueles relacionados a </a:t>
            </a:r>
            <a:r>
              <a:rPr lang="pt-PT" u="sng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infraestrutura, a pesquisa tecnológica e a desenvolvimento de inovação tecnológica;</a:t>
            </a:r>
          </a:p>
          <a:p>
            <a:pPr marR="0" algn="l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(…..)</a:t>
            </a:r>
          </a:p>
          <a:p>
            <a:pPr marR="0" algn="l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IV – </a:t>
            </a:r>
            <a:r>
              <a:rPr lang="pt-PT" u="sng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promover a geração e o uso eficiente da energia de baixo carbono por meio de projetos sustentáveis alinhados aos compromissos de redução de emissão de gases de efeito estufa assumidos pelo Brasil </a:t>
            </a: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….</a:t>
            </a:r>
          </a:p>
          <a:p>
            <a:pPr marR="0" algn="l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lang="pt-PT" dirty="0">
              <a:solidFill>
                <a:srgbClr val="002060"/>
              </a:solidFill>
              <a:latin typeface="+mj-lt"/>
              <a:ea typeface="+mj-ea"/>
              <a:cs typeface="+mj-cs"/>
              <a:sym typeface="Calibri"/>
            </a:endParaRPr>
          </a:p>
          <a:p>
            <a:pPr algn="just"/>
            <a:r>
              <a:rPr lang="pt-BR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Art. 3º Para os fins desta Lei, consideram-se projetos de desenvolvimento sustentável aqueles destinados à execução de obras de infraestrutura, expansão ou implantação de parques de produção energética de matriz sustentável, </a:t>
            </a:r>
            <a:r>
              <a:rPr lang="pt-BR" u="sng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à pesquisa tecnológica e ao desenvolvimento de inovação tecnológica</a:t>
            </a:r>
            <a:r>
              <a:rPr lang="pt-BR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 que proporcionem benefícios socioambientais ou mitiguem impactos ao meio ambiente.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336AF77E-E37D-9EDE-2490-119A214B52B3}"/>
              </a:ext>
            </a:extLst>
          </p:cNvPr>
          <p:cNvSpPr txBox="1">
            <a:spLocks/>
          </p:cNvSpPr>
          <p:nvPr/>
        </p:nvSpPr>
        <p:spPr>
          <a:xfrm>
            <a:off x="257955" y="87998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PATEN 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00" b="0" i="0" u="none" strike="noStrike" kern="0" cap="none" spc="0" normalizeH="0" baseline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PL 327/2021</a:t>
            </a:r>
            <a:endParaRPr kumimoji="0" lang="en-US" sz="2100" b="0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D8CA0B17-A7AA-49A8-CFBE-5A0277D09864}"/>
              </a:ext>
            </a:extLst>
          </p:cNvPr>
          <p:cNvSpPr/>
          <p:nvPr/>
        </p:nvSpPr>
        <p:spPr>
          <a:xfrm>
            <a:off x="351323" y="3237133"/>
            <a:ext cx="289720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4500" b="1" dirty="0">
                <a:solidFill>
                  <a:srgbClr val="002060"/>
                </a:solidFill>
                <a:latin typeface="Calibri"/>
                <a:cs typeface="Helvetica"/>
              </a:rPr>
              <a:t>OBJETIVOS</a:t>
            </a:r>
            <a:endParaRPr lang="pt-BR" sz="4500" dirty="0">
              <a:solidFill>
                <a:srgbClr val="002060"/>
              </a:solidFill>
              <a:latin typeface="Calibri"/>
              <a:cs typeface="Helvetica"/>
            </a:endParaRP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49BD90D-1DBE-3266-BD73-ED6E415426AE}"/>
              </a:ext>
            </a:extLst>
          </p:cNvPr>
          <p:cNvCxnSpPr>
            <a:cxnSpLocks/>
          </p:cNvCxnSpPr>
          <p:nvPr/>
        </p:nvCxnSpPr>
        <p:spPr>
          <a:xfrm>
            <a:off x="3732464" y="1530146"/>
            <a:ext cx="0" cy="4609375"/>
          </a:xfrm>
          <a:prstGeom prst="line">
            <a:avLst/>
          </a:prstGeom>
          <a:ln w="254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805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pt-BR" sz="800"/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17" name="Imagem 16" descr="Uma imagem com texto, Tipo de letra, logótipo, Gráficos&#10;&#10;Descrição gerada automaticamente">
            <a:extLst>
              <a:ext uri="{FF2B5EF4-FFF2-40B4-BE49-F238E27FC236}">
                <a16:creationId xmlns:a16="http://schemas.microsoft.com/office/drawing/2014/main" id="{B7EE8226-064C-FE2D-4A1E-F5E630A1BC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760" y="0"/>
            <a:ext cx="1693240" cy="82821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336AF77E-E37D-9EDE-2490-119A214B52B3}"/>
              </a:ext>
            </a:extLst>
          </p:cNvPr>
          <p:cNvSpPr txBox="1">
            <a:spLocks/>
          </p:cNvSpPr>
          <p:nvPr/>
        </p:nvSpPr>
        <p:spPr>
          <a:xfrm>
            <a:off x="257955" y="87998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Estudo de Impacto da Bioeconomia  </a:t>
            </a:r>
            <a:r>
              <a:rPr kumimoji="0" lang="pt-BR" sz="2100" b="0" i="0" u="none" strike="noStrike" kern="0" cap="none" spc="0" normalizeH="0" baseline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 </a:t>
            </a:r>
            <a:endParaRPr kumimoji="0" lang="en-US" sz="2100" b="0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0CBD748-412C-D54A-4298-44FD69C1F32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569733" y="1066921"/>
            <a:ext cx="6583310" cy="5393839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65C5B69A-8213-0F28-B611-6ADB3DA6562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103753" y="5077391"/>
            <a:ext cx="1973884" cy="1192021"/>
          </a:xfrm>
          <a:prstGeom prst="rect">
            <a:avLst/>
          </a:prstGeom>
        </p:spPr>
      </p:pic>
      <p:pic>
        <p:nvPicPr>
          <p:cNvPr id="7" name="Imagem 6" descr="Diagrama&#10;&#10;Descrição gerada automaticamente com confiança baixa">
            <a:extLst>
              <a:ext uri="{FF2B5EF4-FFF2-40B4-BE49-F238E27FC236}">
                <a16:creationId xmlns:a16="http://schemas.microsoft.com/office/drawing/2014/main" id="{421B1021-A30B-9B7B-3E17-19609EA1AB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9900" y="2148278"/>
            <a:ext cx="4284839" cy="2929113"/>
          </a:xfrm>
          <a:prstGeom prst="rect">
            <a:avLst/>
          </a:prstGeom>
        </p:spPr>
      </p:pic>
      <p:pic>
        <p:nvPicPr>
          <p:cNvPr id="8" name="Imagem 7" descr="Placa azul com letras brancas em fundo preto&#10;&#10;Descrição gerada automaticamente">
            <a:extLst>
              <a:ext uri="{FF2B5EF4-FFF2-40B4-BE49-F238E27FC236}">
                <a16:creationId xmlns:a16="http://schemas.microsoft.com/office/drawing/2014/main" id="{8A07EE7E-4348-284F-0DF2-9A7DC8337BD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5319" y="1275391"/>
            <a:ext cx="4114414" cy="98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49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pt-BR" sz="800"/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17" name="Imagem 16" descr="Uma imagem com texto, Tipo de letra, logótipo, Gráficos&#10;&#10;Descrição gerada automaticamente">
            <a:extLst>
              <a:ext uri="{FF2B5EF4-FFF2-40B4-BE49-F238E27FC236}">
                <a16:creationId xmlns:a16="http://schemas.microsoft.com/office/drawing/2014/main" id="{B7EE8226-064C-FE2D-4A1E-F5E630A1BC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760" y="0"/>
            <a:ext cx="1693240" cy="82821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336AF77E-E37D-9EDE-2490-119A214B52B3}"/>
              </a:ext>
            </a:extLst>
          </p:cNvPr>
          <p:cNvSpPr txBox="1">
            <a:spLocks/>
          </p:cNvSpPr>
          <p:nvPr/>
        </p:nvSpPr>
        <p:spPr>
          <a:xfrm>
            <a:off x="257955" y="87998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4100" cap="all" dirty="0">
                <a:solidFill>
                  <a:srgbClr val="FFFFFF"/>
                </a:solidFill>
                <a:latin typeface="Bariol Bold" panose="02000506040000020003" pitchFamily="2" charset="0"/>
                <a:ea typeface="Calibri"/>
                <a:cs typeface="Calibri"/>
              </a:rPr>
              <a:t>Estudo de impacto da bioeconomia </a:t>
            </a: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 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00" b="0" i="0" u="none" strike="noStrike" kern="0" cap="none" spc="0" normalizeH="0" baseline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 </a:t>
            </a:r>
            <a:endParaRPr kumimoji="0" lang="en-US" sz="2100" b="0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2037A082-FD2F-E34E-DF7D-97F3232A02A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884338" y="2153918"/>
            <a:ext cx="2420530" cy="2953278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B88D5134-8017-D4C8-629A-23F3020C3912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8419756" y="3338127"/>
            <a:ext cx="1656721" cy="2772706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DC9C5949-BA57-B1BA-4F23-08584ADF107B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8419756" y="1057347"/>
            <a:ext cx="1656721" cy="1930854"/>
          </a:xfrm>
          <a:prstGeom prst="rect">
            <a:avLst/>
          </a:prstGeom>
        </p:spPr>
      </p:pic>
      <p:pic>
        <p:nvPicPr>
          <p:cNvPr id="8" name="Imagem 7" descr="Placa vermelha com letras brancas&#10;&#10;Descrição gerada automaticamente com confiança média">
            <a:extLst>
              <a:ext uri="{FF2B5EF4-FFF2-40B4-BE49-F238E27FC236}">
                <a16:creationId xmlns:a16="http://schemas.microsoft.com/office/drawing/2014/main" id="{276741E5-E66E-D83E-C46F-CCFB98C323C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1277" y="1275767"/>
            <a:ext cx="3418090" cy="984874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12F7E602-6EC3-E41C-DD40-4DB81AA722CC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118001" y="2806633"/>
            <a:ext cx="3781366" cy="27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70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pt-BR" sz="1200" dirty="0">
              <a:latin typeface="+mj-lt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17" name="Imagem 16" descr="Uma imagem com texto, Tipo de letra, logótipo, Gráficos&#10;&#10;Descrição gerada automaticamente">
            <a:extLst>
              <a:ext uri="{FF2B5EF4-FFF2-40B4-BE49-F238E27FC236}">
                <a16:creationId xmlns:a16="http://schemas.microsoft.com/office/drawing/2014/main" id="{B7EE8226-064C-FE2D-4A1E-F5E630A1BC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760" y="0"/>
            <a:ext cx="1693240" cy="82821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336AF77E-E37D-9EDE-2490-119A214B52B3}"/>
              </a:ext>
            </a:extLst>
          </p:cNvPr>
          <p:cNvSpPr txBox="1">
            <a:spLocks/>
          </p:cNvSpPr>
          <p:nvPr/>
        </p:nvSpPr>
        <p:spPr>
          <a:xfrm>
            <a:off x="257955" y="87998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PATEN 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00" b="0" i="0" u="none" strike="noStrike" kern="0" cap="all" spc="0" normalizeH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Créditos tributários escriturados  </a:t>
            </a:r>
            <a:endParaRPr kumimoji="0" lang="en-US" sz="2100" b="0" i="0" u="none" strike="sngStrike" kern="1200" cap="all" spc="0" normalizeH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4AD0B8FD-14BD-7B06-4C96-8DB90C92F88B}"/>
              </a:ext>
            </a:extLst>
          </p:cNvPr>
          <p:cNvSpPr txBox="1"/>
          <p:nvPr/>
        </p:nvSpPr>
        <p:spPr>
          <a:xfrm>
            <a:off x="2094138" y="1200440"/>
            <a:ext cx="2665279" cy="64632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indent="0" hangingPunct="0">
              <a:lnSpc>
                <a:spcPct val="100000"/>
              </a:lnSpc>
              <a:spcAft>
                <a:spcPts val="1200"/>
              </a:spcAft>
              <a:buFontTx/>
              <a:buNone/>
            </a:pPr>
            <a:r>
              <a:rPr lang="pt-BR" sz="2000" b="1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PL 5174/2023 (Câmara)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21C8A68-F102-E2AB-D97A-77D05EA4802B}"/>
              </a:ext>
            </a:extLst>
          </p:cNvPr>
          <p:cNvSpPr txBox="1"/>
          <p:nvPr/>
        </p:nvSpPr>
        <p:spPr>
          <a:xfrm>
            <a:off x="8128515" y="1200440"/>
            <a:ext cx="2517034" cy="64632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indent="0" hangingPunct="0">
              <a:lnSpc>
                <a:spcPct val="100000"/>
              </a:lnSpc>
              <a:spcAft>
                <a:spcPts val="1200"/>
              </a:spcAft>
              <a:buFontTx/>
              <a:buNone/>
            </a:pPr>
            <a:r>
              <a:rPr lang="pt-BR" sz="2000" b="1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PL 327/2021 (Senado)</a:t>
            </a:r>
          </a:p>
        </p:txBody>
      </p:sp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124F8629-2421-E36D-1191-A4889BD029A1}"/>
              </a:ext>
            </a:extLst>
          </p:cNvPr>
          <p:cNvCxnSpPr/>
          <p:nvPr/>
        </p:nvCxnSpPr>
        <p:spPr>
          <a:xfrm>
            <a:off x="5811520" y="1330458"/>
            <a:ext cx="0" cy="50112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ixaDeTexto 4">
            <a:extLst>
              <a:ext uri="{FF2B5EF4-FFF2-40B4-BE49-F238E27FC236}">
                <a16:creationId xmlns:a16="http://schemas.microsoft.com/office/drawing/2014/main" id="{4AD15C33-AEC4-9993-E904-910393B7DFB0}"/>
              </a:ext>
            </a:extLst>
          </p:cNvPr>
          <p:cNvSpPr txBox="1"/>
          <p:nvPr/>
        </p:nvSpPr>
        <p:spPr>
          <a:xfrm>
            <a:off x="6292994" y="1813522"/>
            <a:ext cx="5309355" cy="467820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R="0" algn="just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 err="1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Art</a:t>
            </a: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. 6º As pessoas jurídicas que tenham projeto de desenvolvimento sustentável aprovado, nos termos da regulamentação a que se refere o § 2º do </a:t>
            </a:r>
            <a:r>
              <a:rPr lang="pt-PT" dirty="0" err="1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art</a:t>
            </a: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. 3º, poderão integralizar ao fundo de que trata o </a:t>
            </a:r>
            <a:r>
              <a:rPr lang="pt-PT" dirty="0" err="1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art</a:t>
            </a: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. 5º desta Lei créditos de que sejam titulares perante a União.</a:t>
            </a:r>
          </a:p>
          <a:p>
            <a:pPr marR="0" algn="just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§ 1º Poderão ser integralizados ao Fundo Verde:</a:t>
            </a:r>
          </a:p>
          <a:p>
            <a:pPr marR="0" algn="just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I - precatórios e direitos creditórios decorrentes de decisões judiciais transitadas em julgado em face da </a:t>
            </a:r>
            <a:r>
              <a:rPr lang="pt-PT" dirty="0" err="1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União;e</a:t>
            </a:r>
            <a:endParaRPr lang="pt-PT" dirty="0">
              <a:solidFill>
                <a:srgbClr val="002060"/>
              </a:solidFill>
              <a:latin typeface="+mj-lt"/>
              <a:ea typeface="+mj-ea"/>
              <a:cs typeface="+mj-cs"/>
              <a:sym typeface="Calibri"/>
            </a:endParaRPr>
          </a:p>
          <a:p>
            <a:pPr marR="0" algn="just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II - créditos tributários </a:t>
            </a:r>
            <a:r>
              <a:rPr lang="pt-PT" u="sng" strike="sngStrike" dirty="0">
                <a:solidFill>
                  <a:srgbClr val="FF0000"/>
                </a:solidFill>
                <a:latin typeface="+mj-lt"/>
                <a:ea typeface="+mj-ea"/>
                <a:cs typeface="+mj-cs"/>
                <a:sym typeface="Calibri"/>
              </a:rPr>
              <a:t>inclusive escriturais,</a:t>
            </a:r>
            <a:r>
              <a:rPr lang="pt-PT" u="sng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 com Pedido Eletrônico de Restituição, Ressarcimento ou Reembolso deferido pela Secretaria Especial da Receita Federal do Brasil</a:t>
            </a: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, relativos aos seguintes tributos:</a:t>
            </a:r>
            <a:endParaRPr lang="pt-BR" dirty="0">
              <a:solidFill>
                <a:srgbClr val="00206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40D84305-16EF-014D-7951-8A76BF0B643A}"/>
              </a:ext>
            </a:extLst>
          </p:cNvPr>
          <p:cNvSpPr txBox="1"/>
          <p:nvPr/>
        </p:nvSpPr>
        <p:spPr>
          <a:xfrm>
            <a:off x="236114" y="1813522"/>
            <a:ext cx="5334670" cy="3847205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R="0" algn="just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 err="1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Art</a:t>
            </a: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. 6º As pessoas jurídicas que tenham projeto de desenvolvimento sustentável aprovado, nos termos da regulamentação a que se refere o § 2º do </a:t>
            </a:r>
            <a:r>
              <a:rPr lang="pt-PT" dirty="0" err="1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art</a:t>
            </a: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. 3º, poderão integralizar ao fundo de que trata o </a:t>
            </a:r>
            <a:r>
              <a:rPr lang="pt-PT" dirty="0" err="1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art</a:t>
            </a: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. 5º créditos de que sejam titulares perante a União.</a:t>
            </a:r>
          </a:p>
          <a:p>
            <a:pPr marR="0" algn="just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§ 1º Poderão ser integralizados ao Fundo Verde:</a:t>
            </a:r>
          </a:p>
          <a:p>
            <a:pPr marR="0" algn="just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I - precatórios e direitos creditórios decorrentes de decisões judiciais transitadas em julgado em face da União;</a:t>
            </a:r>
          </a:p>
          <a:p>
            <a:pPr marR="0" algn="just" defTabSz="914400" rtl="0" fontAlgn="auto" latinLnBrk="0" hangingPunct="0"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pt-PT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II - créditos tributários, inclusive escriturais, relativos aos seguintes tributos:</a:t>
            </a:r>
            <a:endParaRPr lang="pt-BR" dirty="0">
              <a:solidFill>
                <a:srgbClr val="002060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084139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5BE4D01-9DF1-4D3F-B681-5A6AD6CB3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5BE4D01-9DF1-4D3F-B681-5A6AD6CB3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tângulo 67">
            <a:extLst>
              <a:ext uri="{FF2B5EF4-FFF2-40B4-BE49-F238E27FC236}">
                <a16:creationId xmlns:a16="http://schemas.microsoft.com/office/drawing/2014/main" id="{8E247E27-5CC6-40E2-9EB5-5BD9399543A1}"/>
              </a:ext>
            </a:extLst>
          </p:cNvPr>
          <p:cNvSpPr/>
          <p:nvPr/>
        </p:nvSpPr>
        <p:spPr>
          <a:xfrm>
            <a:off x="0" y="6460760"/>
            <a:ext cx="12191999" cy="412230"/>
          </a:xfrm>
          <a:prstGeom prst="rect">
            <a:avLst/>
          </a:prstGeom>
          <a:solidFill>
            <a:srgbClr val="1E35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pt-BR" sz="800"/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310E5312-7672-4A2E-8A91-656237987C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0" t="4184" r="4475" b="5801"/>
          <a:stretch/>
        </p:blipFill>
        <p:spPr>
          <a:xfrm>
            <a:off x="-67112" y="0"/>
            <a:ext cx="10446757" cy="1275391"/>
          </a:xfrm>
          <a:prstGeom prst="rect">
            <a:avLst/>
          </a:prstGeom>
        </p:spPr>
      </p:pic>
      <p:pic>
        <p:nvPicPr>
          <p:cNvPr id="17" name="Imagem 16" descr="Uma imagem com texto, Tipo de letra, logótipo, Gráficos&#10;&#10;Descrição gerada automaticamente">
            <a:extLst>
              <a:ext uri="{FF2B5EF4-FFF2-40B4-BE49-F238E27FC236}">
                <a16:creationId xmlns:a16="http://schemas.microsoft.com/office/drawing/2014/main" id="{B7EE8226-064C-FE2D-4A1E-F5E630A1BC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760" y="0"/>
            <a:ext cx="1693240" cy="82821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336AF77E-E37D-9EDE-2490-119A214B52B3}"/>
              </a:ext>
            </a:extLst>
          </p:cNvPr>
          <p:cNvSpPr txBox="1">
            <a:spLocks/>
          </p:cNvSpPr>
          <p:nvPr/>
        </p:nvSpPr>
        <p:spPr>
          <a:xfrm>
            <a:off x="257955" y="87998"/>
            <a:ext cx="7666339" cy="8661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1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iol Bold" panose="02000506040000020003" pitchFamily="2" charset="0"/>
                <a:ea typeface="Calibri"/>
                <a:cs typeface="Calibri"/>
              </a:rPr>
              <a:t>PATEN </a:t>
            </a:r>
          </a:p>
          <a:p>
            <a:pPr marL="0" marR="0" lvl="0" indent="0" algn="l" defTabSz="45720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00" b="0" i="0" u="none" strike="noStrike" kern="0" cap="none" spc="0" normalizeH="0" baseline="0" noProof="0" dirty="0">
                <a:ln>
                  <a:noFill/>
                </a:ln>
                <a:solidFill>
                  <a:srgbClr val="FBAF3F"/>
                </a:solidFill>
                <a:effectLst/>
                <a:uLnTx/>
                <a:uFillTx/>
                <a:latin typeface="Bariol Bold" panose="02000506040000020003" pitchFamily="2" charset="0"/>
                <a:ea typeface="+mn-ea"/>
                <a:cs typeface="Calibri"/>
                <a:sym typeface="Calibri"/>
              </a:rPr>
              <a:t>Importância da inclusão dos créditos tributários escriturados  </a:t>
            </a:r>
            <a:endParaRPr kumimoji="0" lang="en-US" sz="2100" b="0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Bariol Bold" panose="02000506040000020003" pitchFamily="2" charset="0"/>
              <a:ea typeface="Calibri"/>
              <a:cs typeface="Helvetica"/>
            </a:endParaRPr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6DCF346D-1A73-6843-3345-45E8AD87F4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3867570"/>
              </p:ext>
            </p:extLst>
          </p:nvPr>
        </p:nvGraphicFramePr>
        <p:xfrm>
          <a:off x="257955" y="3008599"/>
          <a:ext cx="11635201" cy="16148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1F8732FB-31BD-BABD-E92C-2C48C88C8296}"/>
              </a:ext>
            </a:extLst>
          </p:cNvPr>
          <p:cNvCxnSpPr>
            <a:cxnSpLocks/>
          </p:cNvCxnSpPr>
          <p:nvPr/>
        </p:nvCxnSpPr>
        <p:spPr>
          <a:xfrm>
            <a:off x="4841824" y="4033973"/>
            <a:ext cx="0" cy="1023909"/>
          </a:xfrm>
          <a:prstGeom prst="straightConnector1">
            <a:avLst/>
          </a:prstGeom>
          <a:noFill/>
          <a:ln w="50800" cap="flat">
            <a:solidFill>
              <a:schemeClr val="accent1"/>
            </a:solidFill>
            <a:prstDash val="solid"/>
            <a:round/>
            <a:tailEnd type="triangle"/>
          </a:ln>
          <a:effectLst>
            <a:outerShdw blurRad="76200" dist="381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CaixaDeTexto 6">
            <a:extLst>
              <a:ext uri="{FF2B5EF4-FFF2-40B4-BE49-F238E27FC236}">
                <a16:creationId xmlns:a16="http://schemas.microsoft.com/office/drawing/2014/main" id="{0DF7496F-EB52-B6A5-C789-1BAC91E749A3}"/>
              </a:ext>
            </a:extLst>
          </p:cNvPr>
          <p:cNvSpPr txBox="1"/>
          <p:nvPr/>
        </p:nvSpPr>
        <p:spPr>
          <a:xfrm>
            <a:off x="3634675" y="5143328"/>
            <a:ext cx="2678936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Até 5 anos</a:t>
            </a:r>
          </a:p>
          <a:p>
            <a:pPr algn="ctr" hangingPunct="0"/>
            <a:r>
              <a:rPr lang="pt-BR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§5° do art. 74 </a:t>
            </a:r>
            <a:r>
              <a:rPr lang="pt-BR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Lei 9.430/96</a:t>
            </a:r>
          </a:p>
        </p:txBody>
      </p:sp>
      <p:sp>
        <p:nvSpPr>
          <p:cNvPr id="25" name="Seta: para a Direita 24">
            <a:extLst>
              <a:ext uri="{FF2B5EF4-FFF2-40B4-BE49-F238E27FC236}">
                <a16:creationId xmlns:a16="http://schemas.microsoft.com/office/drawing/2014/main" id="{960EAB4F-FC0B-1053-028A-BD59965B9CB9}"/>
              </a:ext>
            </a:extLst>
          </p:cNvPr>
          <p:cNvSpPr/>
          <p:nvPr/>
        </p:nvSpPr>
        <p:spPr>
          <a:xfrm>
            <a:off x="3754669" y="4474961"/>
            <a:ext cx="7369086" cy="378982"/>
          </a:xfrm>
          <a:prstGeom prst="rightArrow">
            <a:avLst/>
          </a:prstGeom>
          <a:solidFill>
            <a:srgbClr val="4F81BD"/>
          </a:solidFill>
          <a:ln w="50800" cap="flat">
            <a:solidFill>
              <a:schemeClr val="accent1"/>
            </a:solidFill>
            <a:prstDash val="solid"/>
            <a:round/>
          </a:ln>
          <a:effectLst>
            <a:outerShdw blurRad="76200" dist="381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97D523D0-5C10-538D-54E1-9D50B202F91B}"/>
              </a:ext>
            </a:extLst>
          </p:cNvPr>
          <p:cNvSpPr txBox="1"/>
          <p:nvPr/>
        </p:nvSpPr>
        <p:spPr>
          <a:xfrm>
            <a:off x="11182652" y="4468371"/>
            <a:ext cx="864337" cy="46166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>
            <a:defPPr>
              <a:defRPr lang="pt-BR"/>
            </a:defPPr>
            <a:lvl1pPr marR="0" indent="0" algn="ctr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>
                <a:sym typeface="Calibri"/>
              </a:rPr>
              <a:t>Anos ? </a:t>
            </a:r>
          </a:p>
        </p:txBody>
      </p:sp>
      <p:cxnSp>
        <p:nvCxnSpPr>
          <p:cNvPr id="29" name="Conector de Seta Reta 28">
            <a:extLst>
              <a:ext uri="{FF2B5EF4-FFF2-40B4-BE49-F238E27FC236}">
                <a16:creationId xmlns:a16="http://schemas.microsoft.com/office/drawing/2014/main" id="{A29EC37B-8BEB-6FDC-207D-C9E1D6E1C45B}"/>
              </a:ext>
            </a:extLst>
          </p:cNvPr>
          <p:cNvCxnSpPr>
            <a:cxnSpLocks/>
          </p:cNvCxnSpPr>
          <p:nvPr/>
        </p:nvCxnSpPr>
        <p:spPr>
          <a:xfrm>
            <a:off x="7312159" y="4111479"/>
            <a:ext cx="0" cy="1023909"/>
          </a:xfrm>
          <a:prstGeom prst="straightConnector1">
            <a:avLst/>
          </a:prstGeom>
          <a:noFill/>
          <a:ln w="50800" cap="flat">
            <a:solidFill>
              <a:schemeClr val="accent1"/>
            </a:solidFill>
            <a:prstDash val="solid"/>
            <a:round/>
            <a:tailEnd type="triangle"/>
          </a:ln>
          <a:effectLst>
            <a:outerShdw blurRad="76200" dist="381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94A21365-0A79-F624-E345-38222F2CA19F}"/>
              </a:ext>
            </a:extLst>
          </p:cNvPr>
          <p:cNvSpPr txBox="1"/>
          <p:nvPr/>
        </p:nvSpPr>
        <p:spPr>
          <a:xfrm>
            <a:off x="6539352" y="5237179"/>
            <a:ext cx="1545614" cy="46166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Mínimo  1 ano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26B03468-5E5B-FA4C-BF98-609C0E016B36}"/>
              </a:ext>
            </a:extLst>
          </p:cNvPr>
          <p:cNvSpPr txBox="1"/>
          <p:nvPr/>
        </p:nvSpPr>
        <p:spPr>
          <a:xfrm>
            <a:off x="3754669" y="1452870"/>
            <a:ext cx="4758480" cy="64632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indent="0" hangingPunct="0">
              <a:lnSpc>
                <a:spcPct val="100000"/>
              </a:lnSpc>
              <a:spcAft>
                <a:spcPts val="1200"/>
              </a:spcAft>
              <a:buFontTx/>
              <a:buNone/>
            </a:pPr>
            <a:r>
              <a:rPr lang="pt-BR" sz="2000" b="1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Calibri"/>
              </a:rPr>
              <a:t>Fluxo Simplificado dos Créditos Tributários </a:t>
            </a:r>
          </a:p>
        </p:txBody>
      </p:sp>
      <p:sp>
        <p:nvSpPr>
          <p:cNvPr id="34" name="Seta: para Baixo 33">
            <a:extLst>
              <a:ext uri="{FF2B5EF4-FFF2-40B4-BE49-F238E27FC236}">
                <a16:creationId xmlns:a16="http://schemas.microsoft.com/office/drawing/2014/main" id="{EFCB7042-E5A4-9D9E-C0D5-B71E34201B07}"/>
              </a:ext>
            </a:extLst>
          </p:cNvPr>
          <p:cNvSpPr/>
          <p:nvPr/>
        </p:nvSpPr>
        <p:spPr>
          <a:xfrm>
            <a:off x="10900701" y="2823827"/>
            <a:ext cx="281951" cy="444029"/>
          </a:xfrm>
          <a:prstGeom prst="downArrow">
            <a:avLst/>
          </a:prstGeom>
          <a:solidFill>
            <a:srgbClr val="4F81BD"/>
          </a:solidFill>
          <a:ln w="50800" cap="flat">
            <a:solidFill>
              <a:schemeClr val="accent1"/>
            </a:solidFill>
            <a:prstDash val="solid"/>
            <a:round/>
          </a:ln>
          <a:effectLst>
            <a:outerShdw blurRad="76200" dist="381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5" name="Seta: para a Direita 34">
            <a:extLst>
              <a:ext uri="{FF2B5EF4-FFF2-40B4-BE49-F238E27FC236}">
                <a16:creationId xmlns:a16="http://schemas.microsoft.com/office/drawing/2014/main" id="{6ECE9C75-1E3C-50F6-0631-741CEBDC910C}"/>
              </a:ext>
            </a:extLst>
          </p:cNvPr>
          <p:cNvSpPr/>
          <p:nvPr/>
        </p:nvSpPr>
        <p:spPr>
          <a:xfrm>
            <a:off x="6236974" y="2661634"/>
            <a:ext cx="4663728" cy="203065"/>
          </a:xfrm>
          <a:prstGeom prst="rightArrow">
            <a:avLst/>
          </a:prstGeom>
          <a:solidFill>
            <a:srgbClr val="4F81BD"/>
          </a:solidFill>
          <a:ln w="50800" cap="flat">
            <a:solidFill>
              <a:schemeClr val="accent1"/>
            </a:solidFill>
            <a:prstDash val="solid"/>
            <a:round/>
          </a:ln>
          <a:effectLst>
            <a:outerShdw blurRad="76200" dist="381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6" name="Seta: para Baixo 35">
            <a:extLst>
              <a:ext uri="{FF2B5EF4-FFF2-40B4-BE49-F238E27FC236}">
                <a16:creationId xmlns:a16="http://schemas.microsoft.com/office/drawing/2014/main" id="{3D007723-0608-CA1C-62CC-0982087B01B3}"/>
              </a:ext>
            </a:extLst>
          </p:cNvPr>
          <p:cNvSpPr/>
          <p:nvPr/>
        </p:nvSpPr>
        <p:spPr>
          <a:xfrm rot="10800000">
            <a:off x="5955022" y="2819087"/>
            <a:ext cx="281951" cy="444029"/>
          </a:xfrm>
          <a:prstGeom prst="downArrow">
            <a:avLst/>
          </a:prstGeom>
          <a:solidFill>
            <a:srgbClr val="4F81BD"/>
          </a:solidFill>
          <a:ln w="50800" cap="flat">
            <a:solidFill>
              <a:schemeClr val="accent1"/>
            </a:solidFill>
            <a:prstDash val="solid"/>
            <a:round/>
          </a:ln>
          <a:effectLst>
            <a:outerShdw blurRad="76200" dist="381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cxnSp>
        <p:nvCxnSpPr>
          <p:cNvPr id="37" name="Conector de Seta Reta 36">
            <a:extLst>
              <a:ext uri="{FF2B5EF4-FFF2-40B4-BE49-F238E27FC236}">
                <a16:creationId xmlns:a16="http://schemas.microsoft.com/office/drawing/2014/main" id="{7BCDC1B9-3727-7604-AFC5-B747AA331E45}"/>
              </a:ext>
            </a:extLst>
          </p:cNvPr>
          <p:cNvCxnSpPr>
            <a:cxnSpLocks/>
          </p:cNvCxnSpPr>
          <p:nvPr/>
        </p:nvCxnSpPr>
        <p:spPr>
          <a:xfrm>
            <a:off x="9773044" y="4048963"/>
            <a:ext cx="0" cy="1023909"/>
          </a:xfrm>
          <a:prstGeom prst="straightConnector1">
            <a:avLst/>
          </a:prstGeom>
          <a:noFill/>
          <a:ln w="50800" cap="flat">
            <a:solidFill>
              <a:schemeClr val="accent1"/>
            </a:solidFill>
            <a:prstDash val="solid"/>
            <a:round/>
            <a:tailEnd type="triangle"/>
          </a:ln>
          <a:effectLst>
            <a:outerShdw blurRad="76200" dist="381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B1A8E9C6-1E83-F25A-80E2-83E84799D050}"/>
              </a:ext>
            </a:extLst>
          </p:cNvPr>
          <p:cNvSpPr txBox="1"/>
          <p:nvPr/>
        </p:nvSpPr>
        <p:spPr>
          <a:xfrm>
            <a:off x="9340876" y="5205522"/>
            <a:ext cx="864338" cy="46166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>
            <a:defPPr>
              <a:defRPr lang="pt-BR"/>
            </a:defPPr>
            <a:lvl1pPr marR="0" indent="0" algn="ctr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>
                <a:sym typeface="Calibri"/>
              </a:rPr>
              <a:t>Anos ? </a:t>
            </a:r>
          </a:p>
        </p:txBody>
      </p:sp>
    </p:spTree>
    <p:extLst>
      <p:ext uri="{BB962C8B-B14F-4D97-AF65-F5344CB8AC3E}">
        <p14:creationId xmlns:p14="http://schemas.microsoft.com/office/powerpoint/2010/main" val="344109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PresentationGo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50800" cap="flat">
          <a:solidFill>
            <a:schemeClr val="accent1"/>
          </a:solidFill>
          <a:prstDash val="solid"/>
          <a:round/>
        </a:ln>
        <a:effectLst>
          <a:outerShdw blurRad="76200" dist="381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50800" cap="flat">
          <a:solidFill>
            <a:schemeClr val="accent1"/>
          </a:solidFill>
          <a:prstDash val="solid"/>
          <a:round/>
        </a:ln>
        <a:effectLst>
          <a:outerShdw blurRad="76200" dist="381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0090341-1014-4a59-81c8-edc3d1bdc5b4">
      <UserInfo>
        <DisplayName>Izabella Batista Soares Cavalieri De Souza</DisplayName>
        <AccountId>7</AccountId>
        <AccountType/>
      </UserInfo>
      <UserInfo>
        <DisplayName>Thiago Falda</DisplayName>
        <AccountId>12</AccountId>
        <AccountType/>
      </UserInfo>
      <UserInfo>
        <DisplayName>Marcos Pupin</DisplayName>
        <AccountId>126</AccountId>
        <AccountType/>
      </UserInfo>
      <UserInfo>
        <DisplayName>Sara Góis</DisplayName>
        <AccountId>287</AccountId>
        <AccountType/>
      </UserInfo>
      <UserInfo>
        <DisplayName>Milena de Almeida Magalhães</DisplayName>
        <AccountId>311</AccountId>
        <AccountType/>
      </UserInfo>
      <UserInfo>
        <DisplayName>Taís Mendes</DisplayName>
        <AccountId>319</AccountId>
        <AccountType/>
      </UserInfo>
      <UserInfo>
        <DisplayName>Tiago Giuliani</DisplayName>
        <AccountId>307</AccountId>
        <AccountType/>
      </UserInfo>
    </SharedWithUsers>
    <lcf76f155ced4ddcb4097134ff3c332f xmlns="ce8e8203-d166-4bdb-b383-19910dca1cec">
      <Terms xmlns="http://schemas.microsoft.com/office/infopath/2007/PartnerControls"/>
    </lcf76f155ced4ddcb4097134ff3c332f>
    <TaxCatchAll xmlns="90090341-1014-4a59-81c8-edc3d1bdc5b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40C7A64BC35F146BB0C890186126887" ma:contentTypeVersion="18" ma:contentTypeDescription="Crie um novo documento." ma:contentTypeScope="" ma:versionID="e117aae8c05907227ba59bb18a75d15b">
  <xsd:schema xmlns:xsd="http://www.w3.org/2001/XMLSchema" xmlns:xs="http://www.w3.org/2001/XMLSchema" xmlns:p="http://schemas.microsoft.com/office/2006/metadata/properties" xmlns:ns2="ce8e8203-d166-4bdb-b383-19910dca1cec" xmlns:ns3="90090341-1014-4a59-81c8-edc3d1bdc5b4" targetNamespace="http://schemas.microsoft.com/office/2006/metadata/properties" ma:root="true" ma:fieldsID="40edcd1423e2658de9ef4d9013d155a3" ns2:_="" ns3:_="">
    <xsd:import namespace="ce8e8203-d166-4bdb-b383-19910dca1cec"/>
    <xsd:import namespace="90090341-1014-4a59-81c8-edc3d1bdc5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8e8203-d166-4bdb-b383-19910dca1c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Marcações de imagem" ma:readOnly="false" ma:fieldId="{5cf76f15-5ced-4ddc-b409-7134ff3c332f}" ma:taxonomyMulti="true" ma:sspId="0c8ef19e-0d14-478f-b0d8-d70dc716469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90341-1014-4a59-81c8-edc3d1bdc5b4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04d0bba-df40-4f08-a5bd-dd406817c4f6}" ma:internalName="TaxCatchAll" ma:showField="CatchAllData" ma:web="90090341-1014-4a59-81c8-edc3d1bdc5b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4749E4C-A48E-4655-9068-EB0A00703C5F}">
  <ds:schemaRefs>
    <ds:schemaRef ds:uri="http://schemas.microsoft.com/office/2006/metadata/properties"/>
    <ds:schemaRef ds:uri="http://www.w3.org/2000/xmlns/"/>
    <ds:schemaRef ds:uri="90090341-1014-4a59-81c8-edc3d1bdc5b4"/>
    <ds:schemaRef ds:uri="ce8e8203-d166-4bdb-b383-19910dca1cec"/>
    <ds:schemaRef ds:uri="http://schemas.microsoft.com/office/infopath/2007/PartnerControls"/>
    <ds:schemaRef ds:uri="http://www.w3.org/2001/XMLSchema-instance"/>
  </ds:schemaRefs>
</ds:datastoreItem>
</file>

<file path=customXml/itemProps2.xml><?xml version="1.0" encoding="utf-8"?>
<ds:datastoreItem xmlns:ds="http://schemas.openxmlformats.org/officeDocument/2006/customXml" ds:itemID="{0BD9BF39-9882-48E7-B04D-00757EC0E2DE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ce8e8203-d166-4bdb-b383-19910dca1cec"/>
    <ds:schemaRef ds:uri="90090341-1014-4a59-81c8-edc3d1bdc5b4"/>
  </ds:schemaRefs>
</ds:datastoreItem>
</file>

<file path=customXml/itemProps3.xml><?xml version="1.0" encoding="utf-8"?>
<ds:datastoreItem xmlns:ds="http://schemas.openxmlformats.org/officeDocument/2006/customXml" ds:itemID="{1F01E85D-5C00-4488-AD8C-9F46CFB392B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36</TotalTime>
  <Words>572</Words>
  <Application>Microsoft Office PowerPoint</Application>
  <PresentationFormat>Widescreen</PresentationFormat>
  <Paragraphs>64</Paragraphs>
  <Slides>10</Slides>
  <Notes>9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slides</vt:lpstr>
      </vt:variant>
      <vt:variant>
        <vt:i4>10</vt:i4>
      </vt:variant>
    </vt:vector>
  </HeadingPairs>
  <TitlesOfParts>
    <vt:vector size="12" baseType="lpstr">
      <vt:lpstr>Template PresentationGo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Izabella Soares</dc:creator>
  <cp:lastModifiedBy>Thiago Falda</cp:lastModifiedBy>
  <cp:revision>98</cp:revision>
  <cp:lastPrinted>2022-02-03T13:01:52Z</cp:lastPrinted>
  <dcterms:created xsi:type="dcterms:W3CDTF">2019-01-15T13:10:03Z</dcterms:created>
  <dcterms:modified xsi:type="dcterms:W3CDTF">2024-09-05T12:5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0C7A64BC35F146BB0C890186126887</vt:lpwstr>
  </property>
  <property fmtid="{D5CDD505-2E9C-101B-9397-08002B2CF9AE}" pid="3" name="MediaServiceImageTags">
    <vt:lpwstr/>
  </property>
</Properties>
</file>